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  <p:sldMasterId id="2147483693" r:id="rId5"/>
    <p:sldMasterId id="2147483715" r:id="rId6"/>
    <p:sldMasterId id="2147483744" r:id="rId7"/>
    <p:sldMasterId id="2147483755" r:id="rId8"/>
    <p:sldMasterId id="2147483772" r:id="rId9"/>
  </p:sldMasterIdLst>
  <p:notesMasterIdLst>
    <p:notesMasterId r:id="rId30"/>
  </p:notesMasterIdLst>
  <p:sldIdLst>
    <p:sldId id="2147481546" r:id="rId10"/>
    <p:sldId id="2147481594" r:id="rId11"/>
    <p:sldId id="259" r:id="rId12"/>
    <p:sldId id="2147481566" r:id="rId13"/>
    <p:sldId id="2147481595" r:id="rId14"/>
    <p:sldId id="261" r:id="rId15"/>
    <p:sldId id="263" r:id="rId16"/>
    <p:sldId id="2147481579" r:id="rId17"/>
    <p:sldId id="2147481581" r:id="rId18"/>
    <p:sldId id="2147481584" r:id="rId19"/>
    <p:sldId id="2147481585" r:id="rId20"/>
    <p:sldId id="2147481597" r:id="rId21"/>
    <p:sldId id="2147481598" r:id="rId22"/>
    <p:sldId id="2147481599" r:id="rId23"/>
    <p:sldId id="2147481600" r:id="rId24"/>
    <p:sldId id="2147481601" r:id="rId25"/>
    <p:sldId id="2147481602" r:id="rId26"/>
    <p:sldId id="2147481603" r:id="rId27"/>
    <p:sldId id="2147481576" r:id="rId28"/>
    <p:sldId id="2147481558" r:id="rId29"/>
  </p:sldIdLst>
  <p:sldSz cx="12192000" cy="6858000"/>
  <p:notesSz cx="9309100" cy="70231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80" userDrawn="1">
          <p15:clr>
            <a:srgbClr val="A4A3A4"/>
          </p15:clr>
        </p15:guide>
        <p15:guide id="2" pos="2184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30C0302-2FAB-DBA6-3048-A04F3E7CDEF9}" name="Tisinger, Katherine M." initials="TKM" userId="S::katherine.m.tisinger@accenture.com::01e562b7-f58e-47a5-93dd-8dd99b5126d4" providerId="AD"/>
  <p188:author id="{9703A506-E9C5-75EF-E50E-E915A37ED199}" name="Ordway, Alysia M (EOL)" initials="OAM(" userId="S::Alysia.M.Ordway@mass.gov::397ec4ef-180d-4b35-88e2-00d8f30a1fdd" providerId="AD"/>
  <p188:author id="{DC6CD306-81AD-BC7D-16A2-05D9847175B0}" name="Woo, Lauren (DESE)" initials="WL" userId="S::lauren.woo@mass.gov::891b1bf9-83ca-4481-960c-a0625b521a43" providerId="AD"/>
  <p188:author id="{BD284211-9147-8805-905A-4D3FC9936415}" name="Thompson, Chris (EOHLC)" initials="TC(" userId="S::Chris.Thompson@mass.gov::430a30b9-3c8b-4eae-98fa-52fd2b39fea5" providerId="AD"/>
  <p188:author id="{71ED2012-A76C-234C-89E8-92F42C04D94B}" name="Venguer, Nicole (A&amp;F)" initials="VN(" userId="S::Nicole.Venguer@mass.gov::cd936947-338e-46e3-89ec-0bf8cee7be15" providerId="AD"/>
  <p188:author id="{A390DF14-4632-B625-89BC-3AED350937E0}" name="Laura" initials="L" userId="S::Laura.Hernandez2@mass.gov::d67d64e5-c664-4cc6-afce-aec683e55331" providerId="AD"/>
  <p188:author id="{9752AE1A-BD6E-C802-793E-6B450C9BDE1C}" name="Stone, Ben (EOHLC)" initials="S(" userId="S::ben.stone@mass.gov::0f424737-e0a8-485e-8b2b-d868465df3b2" providerId="AD"/>
  <p188:author id="{C9896D1B-86DE-1318-FB51-49A7ECAECA8E}" name="Stitely, Amy (EOHLC)" initials="AS" userId="S::amy.stitely@mass.gov::8760cb38-3584-482c-9a32-a9a96f11ca98" providerId="AD"/>
  <p188:author id="{8040E61C-ADA3-67E0-F8CE-1358CBF55380}" name="Basheer, Aditya W. (A&amp;F)" initials="B(" userId="S::aditya.w.basheer@mass.gov::bcde0754-384d-47eb-b387-c9ec5e4f4c2c" providerId="AD"/>
  <p188:author id="{7C84BC23-7606-A714-FE67-E5D2D8113D2C}" name="Brown, Ken (EOL)" initials="B(" userId="S::ken.brown@mass.gov::a46f0b82-c76d-4285-bb7f-83ee6ea21fd9" providerId="AD"/>
  <p188:author id="{02490925-4ED6-9E0D-A157-3346A3895A35}" name="Appugliese, Joanna M." initials="AJM" userId="S::joanna.m.appugliese@accenture.com::3f2b6825-0119-413b-a487-e681054144ec" providerId="AD"/>
  <p188:author id="{E2CC2A26-E4E1-7DF5-C338-AEF11CD49A32}" name="McGuill, Ryan" initials="RM" userId="S::ryan.mcguill@accenture.com::ccf76a90-746f-4857-acdd-f000bab08198" providerId="AD"/>
  <p188:author id="{29640527-08BC-1416-26DB-9144A7EA2CA2}" name="Marcus, Claire S." initials="MCS" userId="S::claire.s.marcus@accenture.com::15938662-5f1f-4d13-9d2e-664eaac8f32b" providerId="AD"/>
  <p188:author id="{C485672D-4A72-EE0F-6A3F-81454DAD2033}" name="Jhunjhunwala, Satakshi" initials="JS" userId="S::s.b.jhunjhunwala@accenture.com::73aa2983-4e99-483c-9305-1df3641f7675" providerId="AD"/>
  <p188:author id="{999C6D34-97F3-5A84-4A3A-062CE75B74CC}" name="Hobby, Imogen (A&amp;F)" initials="IH" userId="Hobby, Imogen (A&amp;F)" providerId="None"/>
  <p188:author id="{E6E21F38-ACC1-C8A5-A9B1-1C1E25560993}" name="Freire, Leandro (ORI)" initials="" userId="S::leandro.freire@mass.gov::c52f2563-044b-4198-9f4e-4ace32b10ab2" providerId="AD"/>
  <p188:author id="{AFEA8B3B-2D29-2683-F7B9-3E6C282ACC8A}" name="Tisinger, Katie (A&amp;F)" initials="T(" userId="S::katie.tisinger@mass.gov::b780e063-053f-4353-8f63-23391e333ac0" providerId="AD"/>
  <p188:author id="{0F91E23D-93BF-ADE6-C0CA-9BC9F0E04EC0}" name="Venguer, Nicole (A&amp;F)" initials="V(" userId="S::nicole.venguer@mass.gov::cd936947-338e-46e3-89ec-0bf8cee7be15" providerId="AD"/>
  <p188:author id="{5482C640-E923-C83E-4A99-D57CDC9328C0}" name="McElderry, Kristin" initials="MK" userId="S::kristin.mcelderry_accenture.com#ext#@massgov.onmicrosoft.com::f6da3f67-f840-4a29-a0c3-cbec3509cee2" providerId="AD"/>
  <p188:author id="{7473FA40-E9A5-924C-FC35-16C3552B636D}" name="Cohen, Jesse (EOHLC)" initials="CJ(" userId="S::Jesse.Cohen@mass.gov::de239717-22e7-44d6-95d4-dec19091c871" providerId="AD"/>
  <p188:author id="{B55FC044-89D0-79B5-5CBC-BA1B78A20711}" name="Diaz, Sara I (EOHLC)" initials="DSI(" userId="S::Sara.I.Diaz@mass.gov::b9f8e7e8-7e7c-47fd-9305-927bf442c409" providerId="AD"/>
  <p188:author id="{E2346748-F2C4-3E2E-8DDE-6BCC85675C89}" name="Sweezey, Tovah Miller (EOL)" initials="S(" userId="S::tovah.sweezey@mass.gov::f8936efe-bc2e-41b8-97f7-7c988ddcf264" providerId="AD"/>
  <p188:author id="{3B454952-4E37-7312-9CA3-3629BB032DF1}" name="Hernandez, Laura A." initials="HLA" userId="S::laura.a.hernandez@accenture.com::02d3e94e-d437-4535-a295-9e0c06160f69" providerId="AD"/>
  <p188:author id="{63C64B52-6821-BFA7-F3FF-6C39C4B58FD3}" name="Sharp, Catia Ruth (A&amp;F)" initials="S(" userId="S::catia.ruth.sharp@mass.gov::20f7adef-f264-4529-977d-46322722f69d" providerId="AD"/>
  <p188:author id="{67040557-585E-8F8E-3F2E-3D3A3B60BAF2}" name="Bovell-Ammon, Allison (EHS)" initials="BAA(" userId="S::Allison.Bovell-Ammon@mass.gov::da08f1d4-9db9-46ed-8dfd-818427b61db8" providerId="AD"/>
  <p188:author id="{8E353758-D134-1982-8DDD-55B4327444E4}" name="Sudireddy, Sreya R (EHS)" initials="S(" userId="S::sreya.r.sudireddy@mass.gov::a07ab04d-0796-4c7c-bab9-650357b189b1" providerId="AD"/>
  <p188:author id="{7961FF5F-6533-BF5A-5B4D-A8A6AEABBD13}" name="Cruz, Jenny (DESE)" initials="JC" userId="S::jenny.cruz@mass.gov::9acc5e5d-1e16-45d5-8416-f07c61d324d0" providerId="AD"/>
  <p188:author id="{FE3E8167-173F-C812-5D28-992216DB6D87}" name="Diederich, Shelagh (A&amp;F)" initials="DS(" userId="S::Shelagh.Diederich2@mass.gov::54fccb50-901a-4a30-92db-18f5bbbe264e" providerId="AD"/>
  <p188:author id="{DA13AA68-32D4-8D32-8C81-7AE93149F216}" name="Mikulis, Rick (A&amp;F)" initials="RM" userId="S::Rick.Mikulis@mass.gov::daa515be-f107-473d-92de-4c1f2f39f7b0" providerId="AD"/>
  <p188:author id="{0ECC166B-59C4-47F2-B75C-3119A6D1FE35}" name="Thompson, Chris (EOHLC)" initials="T(" userId="S::chris.thompson@mass.gov::430a30b9-3c8b-4eae-98fa-52fd2b39fea5" providerId="AD"/>
  <p188:author id="{5D0B106C-19C5-C25D-CC22-1F2C9A8B4A47}" name="Rubin, Roberta (EOHLC)" initials="R(" userId="S::roberta.rubin@mass.gov::2cbd6095-3de4-4e08-a541-e182ee3ba991" providerId="AD"/>
  <p188:author id="{7D38A573-056E-60D3-8E60-1F2A5A13B5D1}" name="Sullivan, Dana C. (ANF)" initials="DCS" userId="Sullivan, Dana C. (ANF)" providerId="None"/>
  <p188:author id="{CDD38F76-2497-DBD2-892D-FACD879E40DD}" name="Church, Susan (ORI)" initials="SC" userId="S::Susan.Church@mass.gov::601a846d-7ef2-4430-80a2-97cd593c88fa" providerId="AD"/>
  <p188:author id="{C631F979-F338-EDEB-5F1D-2578B91121E3}" name="Attia, Mark (A&amp;F)" initials="A(" userId="S::mark.attia@mass.gov::4aeb8811-86d4-4fe3-aa7a-edc5a4bee0c3" providerId="AD"/>
  <p188:author id="{FF836E7A-769F-35DD-B24D-936756E9EFFD}" name="Ordway, Alysia M (EOL)" initials="O(" userId="S::alysia.m.ordway@mass.gov::397ec4ef-180d-4b35-88e2-00d8f30a1fdd" providerId="AD"/>
  <p188:author id="{06FE997A-EDA5-0730-2FB2-FEDDDB50AD9E}" name="Vargas, Anny M (ORI)" initials="AV" userId="S::Anny.M.Vargas@mass.gov::c1b0c30b-2fda-4c07-9aaf-b3d10e61ec86" providerId="AD"/>
  <p188:author id="{E99EAF7C-DA87-7A2E-15D2-8BCEAA3A0F4D}" name="Angelo, Fabiano F (ORI)" initials="" userId="S::Fabiano.F.Angelo@mass.gov::46217cac-8018-4313-9564-7223edfa646e" providerId="AD"/>
  <p188:author id="{5D724A7E-7E42-71AE-E626-1812BC37387F}" name="Mikulis, Rick (A&amp;F)" initials="M(" userId="S::rick.mikulis@mass.gov::daa515be-f107-473d-92de-4c1f2f39f7b0" providerId="AD"/>
  <p188:author id="{D2F9257F-A91F-3303-028F-F4BFF22A6598}" name="Higgins, Colin (EOHLC)" initials="HC(" userId="S::Colin.Higgins@mass.gov::32689617-c069-43c8-b298-a842a40b63b3" providerId="AD"/>
  <p188:author id="{8BB92082-80D1-3FCD-B425-3D7BF608B30D}" name="Henry, Arianne M (EHS)" initials="H(" userId="S::arianne.m.henry@mass.gov::ca456296-c955-4a12-b117-6912d5e022cf" providerId="AD"/>
  <p188:author id="{10634585-942A-9061-F196-C16539795295}" name="Tisinger, Katie (A&amp;F)" initials="KT" userId="S::Katie.Tisinger@mass.gov::b780e063-053f-4353-8f63-23391e333ac0" providerId="AD"/>
  <p188:author id="{C3C4CE85-5877-A493-6525-23CB32EB9B66}" name="Michael Kelleher" initials="MK" userId="S::Michael@smartelliestrategies.com::be76b987-db82-474a-9f33-a48ea28c4cd5" providerId="AD"/>
  <p188:author id="{97373987-C03B-5991-11D1-826281BF18C6}" name="Coolidge, Noah (VET)" initials="C(" userId="S::noah.coolidge@mass.gov::7163ba84-40f8-4764-8b66-e2530918ca2c" providerId="AD"/>
  <p188:author id="{A6C22E8F-3CAE-655A-6CD5-05E1390BC8DA}" name="Hobby, Imogen (A&amp;F)" initials="H(" userId="S::imogen.hobby@mass.gov::3f5a7441-bac6-4a5b-9ee2-f3a0a42d4e24" providerId="AD"/>
  <p188:author id="{0EF25F92-2E68-8B58-DE42-0973B6416D2E}" name="Rowan, Angela" initials="RA" userId="S::angela.rowan@accenture.com::b91cf4de-41d6-457a-ac3b-ccab2f514b27" providerId="AD"/>
  <p188:author id="{E2B7F092-4256-3BE0-720A-67B5D0A3E835}" name="Leon, Carol Q (ORI)" initials="L(" userId="S::carol.q.leon@mass.gov::9d17cd82-9a2e-4f96-8790-6c2a4b79354e" providerId="AD"/>
  <p188:author id="{326D6194-D96C-E926-0C55-D7D7490DAD04}" name="Basheer, Aditya W. (A&amp;F)" initials="AB" userId="S::Aditya.W.Basheer@mass.gov::bcde0754-384d-47eb-b387-c9ec5e4f4c2c" providerId="AD"/>
  <p188:author id="{867FA194-F10B-F8FA-8F54-8F4A6E02BBC6}" name="Brown, Blair (EOE)" initials="BB" userId="S::blair.brown@Mass.gov::eaa79805-1faf-4275-89b9-c0d60f8c1510" providerId="AD"/>
  <p188:author id="{68FCB496-FE83-118D-B999-795BEB336C20}" name="Bartosch, William (EOHLC)" initials="B(" userId="S::william.bartosch@mass.gov::fd576bab-8913-41c7-892d-550d53ec4b46" providerId="AD"/>
  <p188:author id="{36AB639B-E166-9380-9F55-3ED993DE57A1}" name="Barrese, Sarah (EOHLC)" initials="BS(" userId="S::Sarah.Barrese2@mass.gov::60d0b564-cec7-47ef-b244-e30e0cfbf4b7" providerId="AD"/>
  <p188:author id="{4DB1FB9E-AD0C-C329-68AB-D6B8573AD062}" name="Angelo, Fabiano F (ORI)" initials="A(" userId="S::fabiano.f.angelo@mass.gov::46217cac-8018-4313-9564-7223edfa646e" providerId="AD"/>
  <p188:author id="{3FB0E8A3-E65F-675E-9257-9304882B5474}" name="Bresnahan, Karen (EOHLC)" initials="KB" userId="S::karen.bresnahan@mass.gov::31e138f5-f147-48e8-840d-aa3f7a4c3675" providerId="AD"/>
  <p188:author id="{C752CCA5-7AF5-D364-3402-6DA15FFE710B}" name="Cuddy, Joshua (EOHLC)" initials="JC" userId="S::Joshua.Cuddy@mass.gov::fe00c576-5af3-4d2a-ade8-c0f212999735" providerId="AD"/>
  <p188:author id="{3F0072A7-DE4C-18DF-33BA-7D4242022399}" name="Hernandez, Laura A." initials="HA" userId="S::laura.a.hernandez_accenture.com#ext#@massgov.onmicrosoft.com::8ad32f6b-e3b6-4847-b779-0409dd880d75" providerId="AD"/>
  <p188:author id="{924EFEAB-319C-4551-0945-BCC4C19354D9}" name="Griffin, Virginia K (EOHLC)" initials="G(" userId="S::virginia.k.griffin@mass.gov::a594d9b0-7e18-4b2e-b9d1-d978910f4587" providerId="AD"/>
  <p188:author id="{BA1C07B4-B3FF-6185-DDCB-38726D3D7E82}" name="Cohen, Jesse (EOHLC)" initials="C(" userId="S::jesse.cohen@mass.gov::de239717-22e7-44d6-95d4-dec19091c871" providerId="AD"/>
  <p188:author id="{75B07CB6-23EE-975C-A338-1FF46C62EA34}" name="Leon, Carol Q (ORI)" initials="CL" userId="S::Carol.Q.Leon@mass.gov::9d17cd82-9a2e-4f96-8790-6c2a4b79354e" providerId="AD"/>
  <p188:author id="{55EE59BD-BCB4-A911-1C1D-8CE3B3BDD213}" name="Arnold, Alyssa" initials="AA" userId="S::alyssa.arnold_accenture.com#ext#@massgov.onmicrosoft.com::3e32abec-d322-4e2b-b710-a421dd96ada6" providerId="AD"/>
  <p188:author id="{BBE83BBE-B2D6-5B34-E5AA-5ED27F9B9525}" name="Sharp, Catia Ruth (A&amp;F)" initials="CS" userId="S::Catia.Ruth.Sharp@mass.gov::20f7adef-f264-4529-977d-46322722f69d" providerId="AD"/>
  <p188:author id="{182CCEBE-67BC-50E6-72D5-0B8FD0E46EFA}" name="Dyen, Lisa R (EHS)" initials="D(" userId="S::lisa.r.dyen@mass.gov::b79da6b5-936b-40ce-b7c1-4f9d97a9f89b" providerId="AD"/>
  <p188:author id="{FD05E1BE-6FBF-6119-3F52-B30D788CC3C4}" name="Stronach, Anne Marie  (DESE)" initials="AS" userId="S::anne.marie.stronach@mass.gov::22e1ddf6-7028-4350-bb65-06ecb28656ac" providerId="AD"/>
  <p188:author id="{442E55BF-A777-3AB3-F84E-016014610B67}" name="Bovell-Ammon, Allison (EHS)" initials="B(" userId="S::allison.bovell-ammon@mass.gov::da08f1d4-9db9-46ed-8dfd-818427b61db8" providerId="AD"/>
  <p188:author id="{B33EFEC2-470B-9C22-B604-153F5725953A}" name="Gray, Caroline G. (A&amp;F)" initials="CG" userId="S::Caroline.G.Gray@mass.gov::5d58790b-cb9a-45d4-9b49-9d0eb918a437" providerId="AD"/>
  <p188:author id="{A6D7C8D1-E64A-FA0F-4695-073BDEEBD3AB}" name="Higgins, Colin (EOHLC)" initials="H(" userId="S::colin.higgins@mass.gov::32689617-c069-43c8-b298-a842a40b63b3" providerId="AD"/>
  <p188:author id="{A3CEDEDB-D792-7CB2-9FF6-D9C014977D0B}" name="Church, Susan (ORI)" initials="C(" userId="S::susan.church@mass.gov::601a846d-7ef2-4430-80a2-97cd593c88fa" providerId="AD"/>
  <p188:author id="{5B6282E4-328C-95C6-0EEE-93E1EB5BFD61}" name="Connors, Kaitlyn (A&amp;F)" initials="CK(" userId="S::Kaitlyn.Connors@mass.gov::40e30303-1c2c-4e3c-8345-7c82e4704ecd" providerId="AD"/>
  <p188:author id="{DB79B8EA-D0D3-48C8-9D92-03B1B9F0865D}" name="Zuppa, Heather (EOHLC)" initials="Z(" userId="S::heather.zuppa@mass.gov::9fb7cd31-ce9e-4d49-b8dd-36aea4e3fbbb" providerId="AD"/>
  <p188:author id="{565AE5F2-66BC-A6D9-4220-0190E0EA2B37}" name="McElderry, Kristin" initials="MK" userId="S::kristin.mcelderry@accenture.com::44961bcc-41a6-42d5-9c42-800ca24772a9" providerId="AD"/>
  <p188:author id="{5A3F0EF4-3C0D-73A3-27C7-E90D66090C92}" name="Woo, Lauren (DESE)" initials="" userId="S::Lauren.Woo@mass.gov::891b1bf9-83ca-4481-960c-a0625b521a43" providerId="AD"/>
  <p188:author id="{B12383F5-46AC-081A-8C06-692FA050966D}" name="Boyle, Sharon (EHS)" initials="SB" userId="S::sharon.c.boyle@mass.gov::8b469dec-7147-429f-b0ee-5d8ba48dc37e" providerId="AD"/>
  <p188:author id="{65DE8CF9-4FC8-1C46-9251-03BCBFA0557B}" name="Arnold, Alyssa" initials="AA" userId="S::alyssa.arnold@accenture.com::ce62e9f6-e726-4af8-83ea-7fa9fe393748" providerId="AD"/>
  <p188:author id="{2EE0A2FB-6476-1F21-BDE0-1DC238624BD1}" name="Bettencourt, Helene H. (DESE)" initials="HB" userId="S::Helene.H.Bettencourt@mass.gov::6a8bcea8-cd3e-4936-88c7-fa44c254e04c" providerId="AD"/>
  <p188:author id="{4A2A15FD-AA72-1C3B-06DC-60FE018EE2A9}" name="Brown, Blair (EOE)" initials="B(" userId="S::blair.brown@mass.gov::eaa79805-1faf-4275-89b9-c0d60f8c1510" providerId="AD"/>
  <p188:author id="{3C6D96FE-9A4C-F934-EE41-882DD1399D63}" name="Millar, Ronnie (EHS)" initials="M(" userId="S::ronnie.millar@mass.gov::92f2ae28-bdfc-46a6-bf3c-b5b4f3405b9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Jihae A. (A&amp;F)" initials="LJA(" lastIdx="1" clrIdx="0">
    <p:extLst>
      <p:ext uri="{19B8F6BF-5375-455C-9EA6-DF929625EA0E}">
        <p15:presenceInfo xmlns:p15="http://schemas.microsoft.com/office/powerpoint/2012/main" userId="S::Jihae.A.Lee@mass.gov::f5d32d7f-c765-4fd4-bae8-c6ceadb603e2" providerId="AD"/>
      </p:ext>
    </p:extLst>
  </p:cmAuthor>
  <p:cmAuthor id="2" name="Attia, Mark (A&amp;F)" initials="A(" lastIdx="1" clrIdx="1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3" name="Amanda Lee" initials="AL" lastIdx="1" clrIdx="2">
    <p:extLst>
      <p:ext uri="{19B8F6BF-5375-455C-9EA6-DF929625EA0E}">
        <p15:presenceInfo xmlns:p15="http://schemas.microsoft.com/office/powerpoint/2012/main" userId="S::Amanda.Lee@Jefferies.com::a687420c-f119-4693-8740-1458f753c6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9EC"/>
    <a:srgbClr val="00B050"/>
    <a:srgbClr val="FFFF00"/>
    <a:srgbClr val="FFC000"/>
    <a:srgbClr val="4F81BD"/>
    <a:srgbClr val="CD0D0D"/>
    <a:srgbClr val="FFFFFF"/>
    <a:srgbClr val="D2ECDC"/>
    <a:srgbClr val="14558F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9C5BBB-2519-41EA-8E25-5C7FA28F737D}" v="5" dt="2025-01-31T20:11:29.3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91" d="100"/>
          <a:sy n="91" d="100"/>
        </p:scale>
        <p:origin x="144" y="66"/>
      </p:cViewPr>
      <p:guideLst>
        <p:guide orient="horz" pos="1080"/>
        <p:guide pos="218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iagrams/_rels/data7.xml.rels><?xml version="1.0" encoding="UTF-8" standalone="yes"?>
<Relationships xmlns="http://schemas.openxmlformats.org/package/2006/relationships"><Relationship Id="rId2" Type="http://schemas.openxmlformats.org/officeDocument/2006/relationships/hyperlink" Target="mailto:training@miracoalition.org" TargetMode="External"/><Relationship Id="rId1" Type="http://schemas.openxmlformats.org/officeDocument/2006/relationships/hyperlink" Target="mailto:jciachurski@pairproject.org" TargetMode="External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mmigrationadvocates.org/legaldirectory/" TargetMode="External"/><Relationship Id="rId2" Type="http://schemas.openxmlformats.org/officeDocument/2006/relationships/hyperlink" Target="https://www.justice.gov/eoir/file/ProBonoMA/download" TargetMode="External"/><Relationship Id="rId1" Type="http://schemas.openxmlformats.org/officeDocument/2006/relationships/hyperlink" Target="https://masslrf.org/en/home" TargetMode="External"/><Relationship Id="rId4" Type="http://schemas.openxmlformats.org/officeDocument/2006/relationships/hyperlink" Target="https://www.boston.gov/departments/immigrant-advancement/free-immigration-consultations" TargetMode="External"/></Relationships>
</file>

<file path=ppt/diagrams/_rels/drawing7.xml.rels><?xml version="1.0" encoding="UTF-8" standalone="yes"?>
<Relationships xmlns="http://schemas.openxmlformats.org/package/2006/relationships"><Relationship Id="rId2" Type="http://schemas.openxmlformats.org/officeDocument/2006/relationships/hyperlink" Target="mailto:jciachurski@pairproject.org" TargetMode="External"/><Relationship Id="rId1" Type="http://schemas.openxmlformats.org/officeDocument/2006/relationships/hyperlink" Target="mailto:training@miracoalition.org" TargetMode="External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oston.gov/departments/immigrant-advancement/free-immigration-consultations" TargetMode="External"/><Relationship Id="rId2" Type="http://schemas.openxmlformats.org/officeDocument/2006/relationships/hyperlink" Target="https://www.justice.gov/eoir/file/ProBonoMA/download" TargetMode="External"/><Relationship Id="rId1" Type="http://schemas.openxmlformats.org/officeDocument/2006/relationships/hyperlink" Target="https://masslrf.org/en/home" TargetMode="External"/><Relationship Id="rId4" Type="http://schemas.openxmlformats.org/officeDocument/2006/relationships/hyperlink" Target="https://www.immigrationadvocates.org/legaldirectory/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F2BCC8-117D-4A6E-892B-BA3C28426F56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D2FD52E-5FED-486E-B25F-E3AB69A67D06}">
      <dgm:prSet/>
      <dgm:spPr/>
      <dgm:t>
        <a:bodyPr/>
        <a:lstStyle/>
        <a:p>
          <a:r>
            <a:rPr lang="en-US"/>
            <a:t>Contact with the criminal system</a:t>
          </a:r>
        </a:p>
      </dgm:t>
    </dgm:pt>
    <dgm:pt modelId="{F5C56932-92D0-4A53-A582-D5F6F037DE52}" type="parTrans" cxnId="{03FAF5DE-9D6B-42FA-B085-57EC7510C160}">
      <dgm:prSet/>
      <dgm:spPr/>
      <dgm:t>
        <a:bodyPr/>
        <a:lstStyle/>
        <a:p>
          <a:endParaRPr lang="en-US"/>
        </a:p>
      </dgm:t>
    </dgm:pt>
    <dgm:pt modelId="{77C9C43D-BC61-4BAF-9886-71F8BA34F62B}" type="sibTrans" cxnId="{03FAF5DE-9D6B-42FA-B085-57EC7510C160}">
      <dgm:prSet/>
      <dgm:spPr/>
      <dgm:t>
        <a:bodyPr/>
        <a:lstStyle/>
        <a:p>
          <a:endParaRPr lang="en-US"/>
        </a:p>
      </dgm:t>
    </dgm:pt>
    <dgm:pt modelId="{CB9CFDE8-2C32-4715-823A-45D78456BD0C}">
      <dgm:prSet/>
      <dgm:spPr/>
      <dgm:t>
        <a:bodyPr/>
        <a:lstStyle/>
        <a:p>
          <a:r>
            <a:rPr lang="en-US"/>
            <a:t>Applying for a benefit at United States Citizenship and Immigration Services (USCIS), </a:t>
          </a:r>
          <a:r>
            <a:rPr lang="en-US" b="1" i="1"/>
            <a:t>while having a removal order or criminal charge</a:t>
          </a:r>
          <a:endParaRPr lang="en-US"/>
        </a:p>
      </dgm:t>
    </dgm:pt>
    <dgm:pt modelId="{02D95E5E-A3F2-4477-AD51-AEBA34F28F9D}" type="parTrans" cxnId="{67B21603-6AE5-49DD-9AB1-7D9E345A736E}">
      <dgm:prSet/>
      <dgm:spPr/>
      <dgm:t>
        <a:bodyPr/>
        <a:lstStyle/>
        <a:p>
          <a:endParaRPr lang="en-US"/>
        </a:p>
      </dgm:t>
    </dgm:pt>
    <dgm:pt modelId="{AEDA300C-636F-4EF5-B4A0-3C96FDAB78CD}" type="sibTrans" cxnId="{67B21603-6AE5-49DD-9AB1-7D9E345A736E}">
      <dgm:prSet/>
      <dgm:spPr/>
      <dgm:t>
        <a:bodyPr/>
        <a:lstStyle/>
        <a:p>
          <a:endParaRPr lang="en-US"/>
        </a:p>
      </dgm:t>
    </dgm:pt>
    <dgm:pt modelId="{28A7B46D-005A-48A7-9363-7C42E2090C55}">
      <dgm:prSet/>
      <dgm:spPr/>
      <dgm:t>
        <a:bodyPr/>
        <a:lstStyle/>
        <a:p>
          <a:r>
            <a:rPr lang="en-US"/>
            <a:t>Green card &amp; Visa holders returning from travel:</a:t>
          </a:r>
        </a:p>
      </dgm:t>
    </dgm:pt>
    <dgm:pt modelId="{878C8AC9-AB8D-43B0-9FBB-BDD066923150}" type="parTrans" cxnId="{747A81B9-9F51-4C9D-8ECD-55E6885FFE8F}">
      <dgm:prSet/>
      <dgm:spPr/>
      <dgm:t>
        <a:bodyPr/>
        <a:lstStyle/>
        <a:p>
          <a:endParaRPr lang="en-US"/>
        </a:p>
      </dgm:t>
    </dgm:pt>
    <dgm:pt modelId="{62F7531B-1754-4ECD-B5CC-59FFD80D42D7}" type="sibTrans" cxnId="{747A81B9-9F51-4C9D-8ECD-55E6885FFE8F}">
      <dgm:prSet/>
      <dgm:spPr/>
      <dgm:t>
        <a:bodyPr/>
        <a:lstStyle/>
        <a:p>
          <a:endParaRPr lang="en-US"/>
        </a:p>
      </dgm:t>
    </dgm:pt>
    <dgm:pt modelId="{894B373E-AD57-4C98-8450-B7E516A4F3A5}">
      <dgm:prSet/>
      <dgm:spPr/>
      <dgm:t>
        <a:bodyPr/>
        <a:lstStyle/>
        <a:p>
          <a:r>
            <a:rPr lang="en-US"/>
            <a:t>CBP must show either Immigrant intent OR Fraud</a:t>
          </a:r>
        </a:p>
      </dgm:t>
    </dgm:pt>
    <dgm:pt modelId="{3C903B9F-E3E6-4C4D-998B-BDB8B3D93E1B}" type="parTrans" cxnId="{12309CCA-95C1-4818-88DE-A4973D1539C8}">
      <dgm:prSet/>
      <dgm:spPr/>
      <dgm:t>
        <a:bodyPr/>
        <a:lstStyle/>
        <a:p>
          <a:endParaRPr lang="en-US"/>
        </a:p>
      </dgm:t>
    </dgm:pt>
    <dgm:pt modelId="{20D53A77-7CDB-4D61-9DC4-94EB18BB2566}" type="sibTrans" cxnId="{12309CCA-95C1-4818-88DE-A4973D1539C8}">
      <dgm:prSet/>
      <dgm:spPr/>
      <dgm:t>
        <a:bodyPr/>
        <a:lstStyle/>
        <a:p>
          <a:endParaRPr lang="en-US"/>
        </a:p>
      </dgm:t>
    </dgm:pt>
    <dgm:pt modelId="{AF31BC51-9859-4B02-B64E-C2A228060C83}">
      <dgm:prSet/>
      <dgm:spPr/>
      <dgm:t>
        <a:bodyPr/>
        <a:lstStyle/>
        <a:p>
          <a:r>
            <a:rPr lang="en-US"/>
            <a:t>A visa holder is subject to expedited removal</a:t>
          </a:r>
        </a:p>
      </dgm:t>
    </dgm:pt>
    <dgm:pt modelId="{2BF5CAE1-C336-49A2-A1BD-0C15F9F1A0C2}" type="parTrans" cxnId="{71CCD872-6331-456C-9E6B-ED24708ABD27}">
      <dgm:prSet/>
      <dgm:spPr/>
      <dgm:t>
        <a:bodyPr/>
        <a:lstStyle/>
        <a:p>
          <a:endParaRPr lang="en-US"/>
        </a:p>
      </dgm:t>
    </dgm:pt>
    <dgm:pt modelId="{312339B7-2DDF-487C-A866-41251E1D85A3}" type="sibTrans" cxnId="{71CCD872-6331-456C-9E6B-ED24708ABD27}">
      <dgm:prSet/>
      <dgm:spPr/>
      <dgm:t>
        <a:bodyPr/>
        <a:lstStyle/>
        <a:p>
          <a:endParaRPr lang="en-US"/>
        </a:p>
      </dgm:t>
    </dgm:pt>
    <dgm:pt modelId="{1854BFF1-D282-43AA-B5B2-CA22B89B1E6F}">
      <dgm:prSet/>
      <dgm:spPr/>
      <dgm:t>
        <a:bodyPr/>
        <a:lstStyle/>
        <a:p>
          <a:r>
            <a:rPr lang="en-US"/>
            <a:t>Raids &amp; targeted enforcement</a:t>
          </a:r>
        </a:p>
      </dgm:t>
    </dgm:pt>
    <dgm:pt modelId="{D7E4FABC-BB54-4082-A45E-A571F1AA5BCB}" type="parTrans" cxnId="{ED540DF2-D3F0-470F-8E3E-7A9957724A39}">
      <dgm:prSet/>
      <dgm:spPr/>
      <dgm:t>
        <a:bodyPr/>
        <a:lstStyle/>
        <a:p>
          <a:endParaRPr lang="en-US"/>
        </a:p>
      </dgm:t>
    </dgm:pt>
    <dgm:pt modelId="{86C0BDA7-F5C4-4197-B549-540FB7B2629C}" type="sibTrans" cxnId="{ED540DF2-D3F0-470F-8E3E-7A9957724A39}">
      <dgm:prSet/>
      <dgm:spPr/>
      <dgm:t>
        <a:bodyPr/>
        <a:lstStyle/>
        <a:p>
          <a:endParaRPr lang="en-US"/>
        </a:p>
      </dgm:t>
    </dgm:pt>
    <dgm:pt modelId="{F0ED0ED2-63D4-49B0-BCBF-47C99209313C}">
      <dgm:prSet/>
      <dgm:spPr/>
      <dgm:t>
        <a:bodyPr/>
        <a:lstStyle/>
        <a:p>
          <a:r>
            <a:rPr lang="en-US"/>
            <a:t>Attending an ICE appointment</a:t>
          </a:r>
        </a:p>
      </dgm:t>
    </dgm:pt>
    <dgm:pt modelId="{A4A832F8-2F49-4421-AF86-5D75038A4585}" type="parTrans" cxnId="{C8D46FB3-5B6E-46CB-A812-6458A3EDD886}">
      <dgm:prSet/>
      <dgm:spPr/>
      <dgm:t>
        <a:bodyPr/>
        <a:lstStyle/>
        <a:p>
          <a:endParaRPr lang="en-US"/>
        </a:p>
      </dgm:t>
    </dgm:pt>
    <dgm:pt modelId="{03CD0B4E-2D38-4118-90BC-ACD1009995E5}" type="sibTrans" cxnId="{C8D46FB3-5B6E-46CB-A812-6458A3EDD886}">
      <dgm:prSet/>
      <dgm:spPr/>
      <dgm:t>
        <a:bodyPr/>
        <a:lstStyle/>
        <a:p>
          <a:endParaRPr lang="en-US"/>
        </a:p>
      </dgm:t>
    </dgm:pt>
    <dgm:pt modelId="{645B5CF1-B4D2-4E2B-9CFB-82D62D28FEC2}">
      <dgm:prSet/>
      <dgm:spPr/>
      <dgm:t>
        <a:bodyPr/>
        <a:lstStyle/>
        <a:p>
          <a:r>
            <a:rPr lang="en-US"/>
            <a:t>Responding to an email/text/letter from ICE				</a:t>
          </a:r>
        </a:p>
      </dgm:t>
    </dgm:pt>
    <dgm:pt modelId="{D89ECED0-EE52-4187-913F-6CECFF94E3C2}" type="parTrans" cxnId="{9689EC17-837D-4E2B-AF7C-E65B59DEF208}">
      <dgm:prSet/>
      <dgm:spPr/>
      <dgm:t>
        <a:bodyPr/>
        <a:lstStyle/>
        <a:p>
          <a:endParaRPr lang="en-US"/>
        </a:p>
      </dgm:t>
    </dgm:pt>
    <dgm:pt modelId="{33839E5A-9DDF-456B-A358-48C954C13AB6}" type="sibTrans" cxnId="{9689EC17-837D-4E2B-AF7C-E65B59DEF208}">
      <dgm:prSet/>
      <dgm:spPr/>
      <dgm:t>
        <a:bodyPr/>
        <a:lstStyle/>
        <a:p>
          <a:endParaRPr lang="en-US"/>
        </a:p>
      </dgm:t>
    </dgm:pt>
    <dgm:pt modelId="{ACECFCC8-9FDB-46CA-99AC-B62863979E8F}" type="pres">
      <dgm:prSet presAssocID="{28F2BCC8-117D-4A6E-892B-BA3C28426F56}" presName="diagram" presStyleCnt="0">
        <dgm:presLayoutVars>
          <dgm:dir/>
          <dgm:resizeHandles val="exact"/>
        </dgm:presLayoutVars>
      </dgm:prSet>
      <dgm:spPr/>
    </dgm:pt>
    <dgm:pt modelId="{3181F8DB-F468-4480-A589-6A9F62DDBC1E}" type="pres">
      <dgm:prSet presAssocID="{5D2FD52E-5FED-486E-B25F-E3AB69A67D06}" presName="node" presStyleLbl="node1" presStyleIdx="0" presStyleCnt="6">
        <dgm:presLayoutVars>
          <dgm:bulletEnabled val="1"/>
        </dgm:presLayoutVars>
      </dgm:prSet>
      <dgm:spPr/>
    </dgm:pt>
    <dgm:pt modelId="{1D97C633-1017-4C9B-9424-BAAC8BBCEF09}" type="pres">
      <dgm:prSet presAssocID="{77C9C43D-BC61-4BAF-9886-71F8BA34F62B}" presName="sibTrans" presStyleCnt="0"/>
      <dgm:spPr/>
    </dgm:pt>
    <dgm:pt modelId="{4F0C95E3-4CC3-497F-90CD-234FE2807CF1}" type="pres">
      <dgm:prSet presAssocID="{CB9CFDE8-2C32-4715-823A-45D78456BD0C}" presName="node" presStyleLbl="node1" presStyleIdx="1" presStyleCnt="6">
        <dgm:presLayoutVars>
          <dgm:bulletEnabled val="1"/>
        </dgm:presLayoutVars>
      </dgm:prSet>
      <dgm:spPr/>
    </dgm:pt>
    <dgm:pt modelId="{B20ED6CB-20BF-4DCA-B55A-4B1B394F6673}" type="pres">
      <dgm:prSet presAssocID="{AEDA300C-636F-4EF5-B4A0-3C96FDAB78CD}" presName="sibTrans" presStyleCnt="0"/>
      <dgm:spPr/>
    </dgm:pt>
    <dgm:pt modelId="{86D7EC9E-668F-4F44-A5AC-35A0FCE72EEC}" type="pres">
      <dgm:prSet presAssocID="{28A7B46D-005A-48A7-9363-7C42E2090C55}" presName="node" presStyleLbl="node1" presStyleIdx="2" presStyleCnt="6">
        <dgm:presLayoutVars>
          <dgm:bulletEnabled val="1"/>
        </dgm:presLayoutVars>
      </dgm:prSet>
      <dgm:spPr/>
    </dgm:pt>
    <dgm:pt modelId="{33D812CA-2CA9-42C8-B033-FAB229566C81}" type="pres">
      <dgm:prSet presAssocID="{62F7531B-1754-4ECD-B5CC-59FFD80D42D7}" presName="sibTrans" presStyleCnt="0"/>
      <dgm:spPr/>
    </dgm:pt>
    <dgm:pt modelId="{D4D0405F-7778-4DA6-86B4-DA17AB7734A4}" type="pres">
      <dgm:prSet presAssocID="{1854BFF1-D282-43AA-B5B2-CA22B89B1E6F}" presName="node" presStyleLbl="node1" presStyleIdx="3" presStyleCnt="6">
        <dgm:presLayoutVars>
          <dgm:bulletEnabled val="1"/>
        </dgm:presLayoutVars>
      </dgm:prSet>
      <dgm:spPr/>
    </dgm:pt>
    <dgm:pt modelId="{EB148A51-86B1-4391-A0B7-B33698DA966C}" type="pres">
      <dgm:prSet presAssocID="{86C0BDA7-F5C4-4197-B549-540FB7B2629C}" presName="sibTrans" presStyleCnt="0"/>
      <dgm:spPr/>
    </dgm:pt>
    <dgm:pt modelId="{CC2E91B9-240E-4782-A196-70EB871FE532}" type="pres">
      <dgm:prSet presAssocID="{F0ED0ED2-63D4-49B0-BCBF-47C99209313C}" presName="node" presStyleLbl="node1" presStyleIdx="4" presStyleCnt="6">
        <dgm:presLayoutVars>
          <dgm:bulletEnabled val="1"/>
        </dgm:presLayoutVars>
      </dgm:prSet>
      <dgm:spPr/>
    </dgm:pt>
    <dgm:pt modelId="{206D5ECF-06B6-40BE-93E9-773FC8C92967}" type="pres">
      <dgm:prSet presAssocID="{03CD0B4E-2D38-4118-90BC-ACD1009995E5}" presName="sibTrans" presStyleCnt="0"/>
      <dgm:spPr/>
    </dgm:pt>
    <dgm:pt modelId="{707AA9D7-8B9F-4B2A-BA42-AF4D881D5474}" type="pres">
      <dgm:prSet presAssocID="{645B5CF1-B4D2-4E2B-9CFB-82D62D28FEC2}" presName="node" presStyleLbl="node1" presStyleIdx="5" presStyleCnt="6">
        <dgm:presLayoutVars>
          <dgm:bulletEnabled val="1"/>
        </dgm:presLayoutVars>
      </dgm:prSet>
      <dgm:spPr/>
    </dgm:pt>
  </dgm:ptLst>
  <dgm:cxnLst>
    <dgm:cxn modelId="{67B21603-6AE5-49DD-9AB1-7D9E345A736E}" srcId="{28F2BCC8-117D-4A6E-892B-BA3C28426F56}" destId="{CB9CFDE8-2C32-4715-823A-45D78456BD0C}" srcOrd="1" destOrd="0" parTransId="{02D95E5E-A3F2-4477-AD51-AEBA34F28F9D}" sibTransId="{AEDA300C-636F-4EF5-B4A0-3C96FDAB78CD}"/>
    <dgm:cxn modelId="{9689EC17-837D-4E2B-AF7C-E65B59DEF208}" srcId="{28F2BCC8-117D-4A6E-892B-BA3C28426F56}" destId="{645B5CF1-B4D2-4E2B-9CFB-82D62D28FEC2}" srcOrd="5" destOrd="0" parTransId="{D89ECED0-EE52-4187-913F-6CECFF94E3C2}" sibTransId="{33839E5A-9DDF-456B-A358-48C954C13AB6}"/>
    <dgm:cxn modelId="{8D98DF1A-0AE2-4804-AC86-2A519B4DDED4}" type="presOf" srcId="{AF31BC51-9859-4B02-B64E-C2A228060C83}" destId="{86D7EC9E-668F-4F44-A5AC-35A0FCE72EEC}" srcOrd="0" destOrd="2" presId="urn:microsoft.com/office/officeart/2005/8/layout/default"/>
    <dgm:cxn modelId="{0D06AC22-AC17-4ABC-81EA-E2389A89A085}" type="presOf" srcId="{894B373E-AD57-4C98-8450-B7E516A4F3A5}" destId="{86D7EC9E-668F-4F44-A5AC-35A0FCE72EEC}" srcOrd="0" destOrd="1" presId="urn:microsoft.com/office/officeart/2005/8/layout/default"/>
    <dgm:cxn modelId="{6BBDB828-CC85-4BB5-8BB0-D7C028F87C46}" type="presOf" srcId="{CB9CFDE8-2C32-4715-823A-45D78456BD0C}" destId="{4F0C95E3-4CC3-497F-90CD-234FE2807CF1}" srcOrd="0" destOrd="0" presId="urn:microsoft.com/office/officeart/2005/8/layout/default"/>
    <dgm:cxn modelId="{4E860333-637E-4B74-8162-A7696B046BC8}" type="presOf" srcId="{28F2BCC8-117D-4A6E-892B-BA3C28426F56}" destId="{ACECFCC8-9FDB-46CA-99AC-B62863979E8F}" srcOrd="0" destOrd="0" presId="urn:microsoft.com/office/officeart/2005/8/layout/default"/>
    <dgm:cxn modelId="{19BE356B-7540-4B36-B804-A5F1DFC6E7E8}" type="presOf" srcId="{5D2FD52E-5FED-486E-B25F-E3AB69A67D06}" destId="{3181F8DB-F468-4480-A589-6A9F62DDBC1E}" srcOrd="0" destOrd="0" presId="urn:microsoft.com/office/officeart/2005/8/layout/default"/>
    <dgm:cxn modelId="{71CCD872-6331-456C-9E6B-ED24708ABD27}" srcId="{28A7B46D-005A-48A7-9363-7C42E2090C55}" destId="{AF31BC51-9859-4B02-B64E-C2A228060C83}" srcOrd="1" destOrd="0" parTransId="{2BF5CAE1-C336-49A2-A1BD-0C15F9F1A0C2}" sibTransId="{312339B7-2DDF-487C-A866-41251E1D85A3}"/>
    <dgm:cxn modelId="{EE5F609F-6098-4E34-A1AD-6FB7053EF4B0}" type="presOf" srcId="{645B5CF1-B4D2-4E2B-9CFB-82D62D28FEC2}" destId="{707AA9D7-8B9F-4B2A-BA42-AF4D881D5474}" srcOrd="0" destOrd="0" presId="urn:microsoft.com/office/officeart/2005/8/layout/default"/>
    <dgm:cxn modelId="{C5BC17A3-49D1-444A-B362-45CC7E91AF9D}" type="presOf" srcId="{1854BFF1-D282-43AA-B5B2-CA22B89B1E6F}" destId="{D4D0405F-7778-4DA6-86B4-DA17AB7734A4}" srcOrd="0" destOrd="0" presId="urn:microsoft.com/office/officeart/2005/8/layout/default"/>
    <dgm:cxn modelId="{80CDF9AA-098F-40B3-888D-CD24AA5CE931}" type="presOf" srcId="{F0ED0ED2-63D4-49B0-BCBF-47C99209313C}" destId="{CC2E91B9-240E-4782-A196-70EB871FE532}" srcOrd="0" destOrd="0" presId="urn:microsoft.com/office/officeart/2005/8/layout/default"/>
    <dgm:cxn modelId="{C8D46FB3-5B6E-46CB-A812-6458A3EDD886}" srcId="{28F2BCC8-117D-4A6E-892B-BA3C28426F56}" destId="{F0ED0ED2-63D4-49B0-BCBF-47C99209313C}" srcOrd="4" destOrd="0" parTransId="{A4A832F8-2F49-4421-AF86-5D75038A4585}" sibTransId="{03CD0B4E-2D38-4118-90BC-ACD1009995E5}"/>
    <dgm:cxn modelId="{747A81B9-9F51-4C9D-8ECD-55E6885FFE8F}" srcId="{28F2BCC8-117D-4A6E-892B-BA3C28426F56}" destId="{28A7B46D-005A-48A7-9363-7C42E2090C55}" srcOrd="2" destOrd="0" parTransId="{878C8AC9-AB8D-43B0-9FBB-BDD066923150}" sibTransId="{62F7531B-1754-4ECD-B5CC-59FFD80D42D7}"/>
    <dgm:cxn modelId="{12309CCA-95C1-4818-88DE-A4973D1539C8}" srcId="{28A7B46D-005A-48A7-9363-7C42E2090C55}" destId="{894B373E-AD57-4C98-8450-B7E516A4F3A5}" srcOrd="0" destOrd="0" parTransId="{3C903B9F-E3E6-4C4D-998B-BDB8B3D93E1B}" sibTransId="{20D53A77-7CDB-4D61-9DC4-94EB18BB2566}"/>
    <dgm:cxn modelId="{21D6DFCD-DC0E-4605-9957-A39083116201}" type="presOf" srcId="{28A7B46D-005A-48A7-9363-7C42E2090C55}" destId="{86D7EC9E-668F-4F44-A5AC-35A0FCE72EEC}" srcOrd="0" destOrd="0" presId="urn:microsoft.com/office/officeart/2005/8/layout/default"/>
    <dgm:cxn modelId="{03FAF5DE-9D6B-42FA-B085-57EC7510C160}" srcId="{28F2BCC8-117D-4A6E-892B-BA3C28426F56}" destId="{5D2FD52E-5FED-486E-B25F-E3AB69A67D06}" srcOrd="0" destOrd="0" parTransId="{F5C56932-92D0-4A53-A582-D5F6F037DE52}" sibTransId="{77C9C43D-BC61-4BAF-9886-71F8BA34F62B}"/>
    <dgm:cxn modelId="{ED540DF2-D3F0-470F-8E3E-7A9957724A39}" srcId="{28F2BCC8-117D-4A6E-892B-BA3C28426F56}" destId="{1854BFF1-D282-43AA-B5B2-CA22B89B1E6F}" srcOrd="3" destOrd="0" parTransId="{D7E4FABC-BB54-4082-A45E-A571F1AA5BCB}" sibTransId="{86C0BDA7-F5C4-4197-B549-540FB7B2629C}"/>
    <dgm:cxn modelId="{B54A5E7C-7171-4633-8277-5E1CE6C9B629}" type="presParOf" srcId="{ACECFCC8-9FDB-46CA-99AC-B62863979E8F}" destId="{3181F8DB-F468-4480-A589-6A9F62DDBC1E}" srcOrd="0" destOrd="0" presId="urn:microsoft.com/office/officeart/2005/8/layout/default"/>
    <dgm:cxn modelId="{CC716B07-D092-4271-A1E2-765DE6E73620}" type="presParOf" srcId="{ACECFCC8-9FDB-46CA-99AC-B62863979E8F}" destId="{1D97C633-1017-4C9B-9424-BAAC8BBCEF09}" srcOrd="1" destOrd="0" presId="urn:microsoft.com/office/officeart/2005/8/layout/default"/>
    <dgm:cxn modelId="{4E413856-1430-4684-9ACD-3333063C3B61}" type="presParOf" srcId="{ACECFCC8-9FDB-46CA-99AC-B62863979E8F}" destId="{4F0C95E3-4CC3-497F-90CD-234FE2807CF1}" srcOrd="2" destOrd="0" presId="urn:microsoft.com/office/officeart/2005/8/layout/default"/>
    <dgm:cxn modelId="{CF6C43C7-F144-4384-8A1A-D90505526C1D}" type="presParOf" srcId="{ACECFCC8-9FDB-46CA-99AC-B62863979E8F}" destId="{B20ED6CB-20BF-4DCA-B55A-4B1B394F6673}" srcOrd="3" destOrd="0" presId="urn:microsoft.com/office/officeart/2005/8/layout/default"/>
    <dgm:cxn modelId="{F04AADF9-7A24-4637-B062-6F28E3446C27}" type="presParOf" srcId="{ACECFCC8-9FDB-46CA-99AC-B62863979E8F}" destId="{86D7EC9E-668F-4F44-A5AC-35A0FCE72EEC}" srcOrd="4" destOrd="0" presId="urn:microsoft.com/office/officeart/2005/8/layout/default"/>
    <dgm:cxn modelId="{FA4515E3-4600-42D1-AE42-13645A497BFC}" type="presParOf" srcId="{ACECFCC8-9FDB-46CA-99AC-B62863979E8F}" destId="{33D812CA-2CA9-42C8-B033-FAB229566C81}" srcOrd="5" destOrd="0" presId="urn:microsoft.com/office/officeart/2005/8/layout/default"/>
    <dgm:cxn modelId="{B2A7B4DB-3E77-4693-B6CA-48CE8CE45627}" type="presParOf" srcId="{ACECFCC8-9FDB-46CA-99AC-B62863979E8F}" destId="{D4D0405F-7778-4DA6-86B4-DA17AB7734A4}" srcOrd="6" destOrd="0" presId="urn:microsoft.com/office/officeart/2005/8/layout/default"/>
    <dgm:cxn modelId="{B7263DAE-9DF8-4563-AF48-8AD900F11F45}" type="presParOf" srcId="{ACECFCC8-9FDB-46CA-99AC-B62863979E8F}" destId="{EB148A51-86B1-4391-A0B7-B33698DA966C}" srcOrd="7" destOrd="0" presId="urn:microsoft.com/office/officeart/2005/8/layout/default"/>
    <dgm:cxn modelId="{17E4BF7C-7960-477F-AA8C-F422C6C85C00}" type="presParOf" srcId="{ACECFCC8-9FDB-46CA-99AC-B62863979E8F}" destId="{CC2E91B9-240E-4782-A196-70EB871FE532}" srcOrd="8" destOrd="0" presId="urn:microsoft.com/office/officeart/2005/8/layout/default"/>
    <dgm:cxn modelId="{D7E58F3B-DACA-4B0B-A7B5-F38606E7BAD7}" type="presParOf" srcId="{ACECFCC8-9FDB-46CA-99AC-B62863979E8F}" destId="{206D5ECF-06B6-40BE-93E9-773FC8C92967}" srcOrd="9" destOrd="0" presId="urn:microsoft.com/office/officeart/2005/8/layout/default"/>
    <dgm:cxn modelId="{6BE9B420-A586-43E3-927C-9839815AAC09}" type="presParOf" srcId="{ACECFCC8-9FDB-46CA-99AC-B62863979E8F}" destId="{707AA9D7-8B9F-4B2A-BA42-AF4D881D5474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A4003F9-D67F-47CC-9B4D-00A207EDFA73}" type="doc">
      <dgm:prSet loTypeId="urn:microsoft.com/office/officeart/2009/3/layout/HorizontalOrganizationChart" loCatId="hierarchy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D9F6AD-F63A-4468-8382-FBF86D8A0087}">
      <dgm:prSet/>
      <dgm:spPr/>
      <dgm:t>
        <a:bodyPr/>
        <a:lstStyle/>
        <a:p>
          <a:r>
            <a:rPr lang="en-US"/>
            <a:t>Not everyone who is not a citizen is subject to removal.</a:t>
          </a:r>
        </a:p>
      </dgm:t>
    </dgm:pt>
    <dgm:pt modelId="{8501D81E-C0CE-434D-A6D7-478659775981}" type="parTrans" cxnId="{90C4D877-0551-46F8-A1FB-71126AC49C4E}">
      <dgm:prSet/>
      <dgm:spPr/>
      <dgm:t>
        <a:bodyPr/>
        <a:lstStyle/>
        <a:p>
          <a:endParaRPr lang="en-US"/>
        </a:p>
      </dgm:t>
    </dgm:pt>
    <dgm:pt modelId="{E953A9B6-C43F-4FB2-A9EB-96281FDB4016}" type="sibTrans" cxnId="{90C4D877-0551-46F8-A1FB-71126AC49C4E}">
      <dgm:prSet/>
      <dgm:spPr/>
      <dgm:t>
        <a:bodyPr/>
        <a:lstStyle/>
        <a:p>
          <a:endParaRPr lang="en-US"/>
        </a:p>
      </dgm:t>
    </dgm:pt>
    <dgm:pt modelId="{5609987F-AF7B-4DB7-BB04-1F666EEF02A7}">
      <dgm:prSet/>
      <dgm:spPr/>
      <dgm:t>
        <a:bodyPr/>
        <a:lstStyle/>
        <a:p>
          <a:r>
            <a:rPr lang="en-US"/>
            <a:t>People must fall under a ground of deportation or grounds of inadmissibility. </a:t>
          </a:r>
        </a:p>
      </dgm:t>
    </dgm:pt>
    <dgm:pt modelId="{E7C2BEEC-16D8-4256-8543-23371C3CDB58}" type="parTrans" cxnId="{6C2C99CD-3FDE-4C31-9F5B-925449FE6B01}">
      <dgm:prSet/>
      <dgm:spPr/>
      <dgm:t>
        <a:bodyPr/>
        <a:lstStyle/>
        <a:p>
          <a:endParaRPr lang="en-US"/>
        </a:p>
      </dgm:t>
    </dgm:pt>
    <dgm:pt modelId="{A5D3F81B-2AE3-4E62-B29A-6CF4D42C9629}" type="sibTrans" cxnId="{6C2C99CD-3FDE-4C31-9F5B-925449FE6B01}">
      <dgm:prSet/>
      <dgm:spPr/>
      <dgm:t>
        <a:bodyPr/>
        <a:lstStyle/>
        <a:p>
          <a:endParaRPr lang="en-US"/>
        </a:p>
      </dgm:t>
    </dgm:pt>
    <dgm:pt modelId="{8B6A9267-2223-45DE-8024-B9FEC1D6A5C3}">
      <dgm:prSet/>
      <dgm:spPr/>
      <dgm:t>
        <a:bodyPr/>
        <a:lstStyle/>
        <a:p>
          <a:r>
            <a:rPr lang="en-US" b="1" i="1"/>
            <a:t>Generally,</a:t>
          </a:r>
          <a:r>
            <a:rPr lang="en-US"/>
            <a:t> this means:</a:t>
          </a:r>
        </a:p>
      </dgm:t>
    </dgm:pt>
    <dgm:pt modelId="{DA2FF1A7-5475-450E-B573-55A4DF4EDC9E}" type="parTrans" cxnId="{A4FF47D5-B121-40A3-8A9D-140F10757E74}">
      <dgm:prSet/>
      <dgm:spPr/>
      <dgm:t>
        <a:bodyPr/>
        <a:lstStyle/>
        <a:p>
          <a:endParaRPr lang="en-US"/>
        </a:p>
      </dgm:t>
    </dgm:pt>
    <dgm:pt modelId="{751EDFCA-60E1-4006-AE8F-486719909D5A}" type="sibTrans" cxnId="{A4FF47D5-B121-40A3-8A9D-140F10757E74}">
      <dgm:prSet/>
      <dgm:spPr/>
      <dgm:t>
        <a:bodyPr/>
        <a:lstStyle/>
        <a:p>
          <a:endParaRPr lang="en-US"/>
        </a:p>
      </dgm:t>
    </dgm:pt>
    <dgm:pt modelId="{2BE81C31-2ACC-4696-846E-3FA69118AB63}">
      <dgm:prSet/>
      <dgm:spPr/>
      <dgm:t>
        <a:bodyPr/>
        <a:lstStyle/>
        <a:p>
          <a:r>
            <a:rPr lang="en-US"/>
            <a:t>Unauthorized / Undocumented immigrants </a:t>
          </a:r>
        </a:p>
      </dgm:t>
    </dgm:pt>
    <dgm:pt modelId="{B69A1A0C-6E72-4A10-816E-BC48FEEAB6D1}" type="parTrans" cxnId="{0E481C43-9064-4869-9273-D6974649E1F2}">
      <dgm:prSet/>
      <dgm:spPr/>
      <dgm:t>
        <a:bodyPr/>
        <a:lstStyle/>
        <a:p>
          <a:endParaRPr lang="en-US"/>
        </a:p>
      </dgm:t>
    </dgm:pt>
    <dgm:pt modelId="{8958942B-D8E1-44F2-B585-06711B34207C}" type="sibTrans" cxnId="{0E481C43-9064-4869-9273-D6974649E1F2}">
      <dgm:prSet/>
      <dgm:spPr/>
      <dgm:t>
        <a:bodyPr/>
        <a:lstStyle/>
        <a:p>
          <a:endParaRPr lang="en-US"/>
        </a:p>
      </dgm:t>
    </dgm:pt>
    <dgm:pt modelId="{7239CED5-511F-4321-BF39-65BB9D46719A}">
      <dgm:prSet/>
      <dgm:spPr/>
      <dgm:t>
        <a:bodyPr/>
        <a:lstStyle/>
        <a:p>
          <a:r>
            <a:rPr lang="en-US"/>
            <a:t>Lawful permanent residents with criminal charges  (green card holders)</a:t>
          </a:r>
        </a:p>
      </dgm:t>
    </dgm:pt>
    <dgm:pt modelId="{56902C84-978F-437F-A777-EDED21996530}" type="parTrans" cxnId="{1EA7C40C-3077-4E1A-AF80-61F43D6F49D4}">
      <dgm:prSet/>
      <dgm:spPr/>
      <dgm:t>
        <a:bodyPr/>
        <a:lstStyle/>
        <a:p>
          <a:endParaRPr lang="en-US"/>
        </a:p>
      </dgm:t>
    </dgm:pt>
    <dgm:pt modelId="{E5377EDB-1E77-4410-A3D4-53082A78EB5F}" type="sibTrans" cxnId="{1EA7C40C-3077-4E1A-AF80-61F43D6F49D4}">
      <dgm:prSet/>
      <dgm:spPr/>
      <dgm:t>
        <a:bodyPr/>
        <a:lstStyle/>
        <a:p>
          <a:endParaRPr lang="en-US"/>
        </a:p>
      </dgm:t>
    </dgm:pt>
    <dgm:pt modelId="{05BA7853-806E-4205-BC5C-2EFED0F3583D}">
      <dgm:prSet/>
      <dgm:spPr/>
      <dgm:t>
        <a:bodyPr/>
        <a:lstStyle/>
        <a:p>
          <a:r>
            <a:rPr lang="en-US"/>
            <a:t>Expedited Removal at Border</a:t>
          </a:r>
        </a:p>
      </dgm:t>
    </dgm:pt>
    <dgm:pt modelId="{FD50FCB3-94E0-46FA-8F78-737A71181F4E}" type="parTrans" cxnId="{E67796C0-D483-4245-9DF8-08FAB18B8EBD}">
      <dgm:prSet/>
      <dgm:spPr/>
      <dgm:t>
        <a:bodyPr/>
        <a:lstStyle/>
        <a:p>
          <a:endParaRPr lang="en-US"/>
        </a:p>
      </dgm:t>
    </dgm:pt>
    <dgm:pt modelId="{4BE6B6DE-74F2-4920-A7C7-2F0158C49951}" type="sibTrans" cxnId="{E67796C0-D483-4245-9DF8-08FAB18B8EBD}">
      <dgm:prSet/>
      <dgm:spPr/>
      <dgm:t>
        <a:bodyPr/>
        <a:lstStyle/>
        <a:p>
          <a:endParaRPr lang="en-US"/>
        </a:p>
      </dgm:t>
    </dgm:pt>
    <dgm:pt modelId="{277E31AD-6741-422A-B7FC-CDF34AFE0A01}">
      <dgm:prSet/>
      <dgm:spPr/>
      <dgm:t>
        <a:bodyPr/>
        <a:lstStyle/>
        <a:p>
          <a:r>
            <a:rPr lang="en-US"/>
            <a:t>Someone who did not go to an immigration court hearing or has final order of removal</a:t>
          </a:r>
        </a:p>
      </dgm:t>
    </dgm:pt>
    <dgm:pt modelId="{E3235706-48AD-47A6-9F83-BAC65024B00F}" type="parTrans" cxnId="{B2D78C26-8017-47CB-978F-9E7AFF621C71}">
      <dgm:prSet/>
      <dgm:spPr/>
      <dgm:t>
        <a:bodyPr/>
        <a:lstStyle/>
        <a:p>
          <a:endParaRPr lang="en-US"/>
        </a:p>
      </dgm:t>
    </dgm:pt>
    <dgm:pt modelId="{F64FF1B0-E7FF-4777-A0BF-ECE532DC07B5}" type="sibTrans" cxnId="{B2D78C26-8017-47CB-978F-9E7AFF621C71}">
      <dgm:prSet/>
      <dgm:spPr/>
      <dgm:t>
        <a:bodyPr/>
        <a:lstStyle/>
        <a:p>
          <a:endParaRPr lang="en-US"/>
        </a:p>
      </dgm:t>
    </dgm:pt>
    <dgm:pt modelId="{1F00F5DE-F39C-47F0-91C9-C14DD5AAEBBB}">
      <dgm:prSet/>
      <dgm:spPr/>
      <dgm:t>
        <a:bodyPr/>
        <a:lstStyle/>
        <a:p>
          <a:r>
            <a:rPr lang="en-US"/>
            <a:t>Various grounds including drug trafficker, human trafficker, false claim to USC</a:t>
          </a:r>
        </a:p>
      </dgm:t>
    </dgm:pt>
    <dgm:pt modelId="{99CB8682-4CE6-4250-B480-B721E8D8D5D4}" type="parTrans" cxnId="{B16502DD-46D8-49CC-9126-852D4BDC9FEE}">
      <dgm:prSet/>
      <dgm:spPr/>
      <dgm:t>
        <a:bodyPr/>
        <a:lstStyle/>
        <a:p>
          <a:endParaRPr lang="en-US"/>
        </a:p>
      </dgm:t>
    </dgm:pt>
    <dgm:pt modelId="{EEE9BE7D-3747-415B-A89B-94932BE147A3}" type="sibTrans" cxnId="{B16502DD-46D8-49CC-9126-852D4BDC9FEE}">
      <dgm:prSet/>
      <dgm:spPr/>
      <dgm:t>
        <a:bodyPr/>
        <a:lstStyle/>
        <a:p>
          <a:endParaRPr lang="en-US"/>
        </a:p>
      </dgm:t>
    </dgm:pt>
    <dgm:pt modelId="{36A38D13-2D91-452D-A54B-FC2B8BAF709B}">
      <dgm:prSet/>
      <dgm:spPr/>
      <dgm:t>
        <a:bodyPr/>
        <a:lstStyle/>
        <a:p>
          <a:r>
            <a:rPr lang="en-US"/>
            <a:t>Expedited Removal from </a:t>
          </a:r>
          <a:r>
            <a:rPr lang="en-US">
              <a:latin typeface="Arial"/>
            </a:rPr>
            <a:t>Interior</a:t>
          </a:r>
          <a:endParaRPr lang="en-US"/>
        </a:p>
        <a:p>
          <a:r>
            <a:rPr lang="en-US"/>
            <a:t> (less than 2 years presence, lacking status &amp; removal proceedings)</a:t>
          </a:r>
        </a:p>
      </dgm:t>
    </dgm:pt>
    <dgm:pt modelId="{37685B57-DA98-4BDE-8636-44BC42CB79B7}" type="parTrans" cxnId="{38308B5A-AAA8-4FC7-9784-5282452E2F56}">
      <dgm:prSet/>
      <dgm:spPr/>
      <dgm:t>
        <a:bodyPr/>
        <a:lstStyle/>
        <a:p>
          <a:endParaRPr lang="en-US"/>
        </a:p>
      </dgm:t>
    </dgm:pt>
    <dgm:pt modelId="{28FA58D9-46F7-40B2-9412-98380D7462DA}" type="sibTrans" cxnId="{38308B5A-AAA8-4FC7-9784-5282452E2F56}">
      <dgm:prSet/>
      <dgm:spPr/>
      <dgm:t>
        <a:bodyPr/>
        <a:lstStyle/>
        <a:p>
          <a:endParaRPr lang="en-US"/>
        </a:p>
      </dgm:t>
    </dgm:pt>
    <dgm:pt modelId="{F1658E1F-8F2F-49A7-A282-0CA078C56466}" type="pres">
      <dgm:prSet presAssocID="{CA4003F9-D67F-47CC-9B4D-00A207EDFA73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B989FA0-AF3E-4F78-8138-85E36FC45892}" type="pres">
      <dgm:prSet presAssocID="{5609987F-AF7B-4DB7-BB04-1F666EEF02A7}" presName="hierRoot1" presStyleCnt="0">
        <dgm:presLayoutVars>
          <dgm:hierBranch val="init"/>
        </dgm:presLayoutVars>
      </dgm:prSet>
      <dgm:spPr/>
    </dgm:pt>
    <dgm:pt modelId="{B322841C-2A61-43F9-8F94-B337BA1A92B5}" type="pres">
      <dgm:prSet presAssocID="{5609987F-AF7B-4DB7-BB04-1F666EEF02A7}" presName="rootComposite1" presStyleCnt="0"/>
      <dgm:spPr/>
    </dgm:pt>
    <dgm:pt modelId="{5E117A49-4EAE-41ED-842D-B175378B540F}" type="pres">
      <dgm:prSet presAssocID="{5609987F-AF7B-4DB7-BB04-1F666EEF02A7}" presName="rootText1" presStyleLbl="node0" presStyleIdx="0" presStyleCnt="3" custScaleY="375806">
        <dgm:presLayoutVars>
          <dgm:chPref val="3"/>
        </dgm:presLayoutVars>
      </dgm:prSet>
      <dgm:spPr/>
    </dgm:pt>
    <dgm:pt modelId="{2F4604AE-085A-4395-8358-8BB43ADC367C}" type="pres">
      <dgm:prSet presAssocID="{5609987F-AF7B-4DB7-BB04-1F666EEF02A7}" presName="rootConnector1" presStyleLbl="node1" presStyleIdx="0" presStyleCnt="0"/>
      <dgm:spPr/>
    </dgm:pt>
    <dgm:pt modelId="{506151BC-6383-4454-9734-C4B1DDE7FF90}" type="pres">
      <dgm:prSet presAssocID="{5609987F-AF7B-4DB7-BB04-1F666EEF02A7}" presName="hierChild2" presStyleCnt="0"/>
      <dgm:spPr/>
    </dgm:pt>
    <dgm:pt modelId="{87B33926-E59D-48BC-AE98-8FA3FF950BAE}" type="pres">
      <dgm:prSet presAssocID="{5609987F-AF7B-4DB7-BB04-1F666EEF02A7}" presName="hierChild3" presStyleCnt="0"/>
      <dgm:spPr/>
    </dgm:pt>
    <dgm:pt modelId="{2146C7A2-C974-4FD3-80FF-9D2A94655D92}" type="pres">
      <dgm:prSet presAssocID="{8B6A9267-2223-45DE-8024-B9FEC1D6A5C3}" presName="hierRoot1" presStyleCnt="0">
        <dgm:presLayoutVars>
          <dgm:hierBranch val="init"/>
        </dgm:presLayoutVars>
      </dgm:prSet>
      <dgm:spPr/>
    </dgm:pt>
    <dgm:pt modelId="{3C48C9A6-F544-4F11-BFD3-B2DD5112AB58}" type="pres">
      <dgm:prSet presAssocID="{8B6A9267-2223-45DE-8024-B9FEC1D6A5C3}" presName="rootComposite1" presStyleCnt="0"/>
      <dgm:spPr/>
    </dgm:pt>
    <dgm:pt modelId="{3A2DD7D4-0025-4538-8E50-7B1D1275730A}" type="pres">
      <dgm:prSet presAssocID="{8B6A9267-2223-45DE-8024-B9FEC1D6A5C3}" presName="rootText1" presStyleLbl="node0" presStyleIdx="1" presStyleCnt="3" custScaleY="338706">
        <dgm:presLayoutVars>
          <dgm:chPref val="3"/>
        </dgm:presLayoutVars>
      </dgm:prSet>
      <dgm:spPr/>
    </dgm:pt>
    <dgm:pt modelId="{55F5A940-BB62-47FF-95B1-CF8C524936F3}" type="pres">
      <dgm:prSet presAssocID="{8B6A9267-2223-45DE-8024-B9FEC1D6A5C3}" presName="rootConnector1" presStyleLbl="node1" presStyleIdx="0" presStyleCnt="0"/>
      <dgm:spPr/>
    </dgm:pt>
    <dgm:pt modelId="{B2F8263F-D4F3-406C-A4E3-55F4D98BDE64}" type="pres">
      <dgm:prSet presAssocID="{8B6A9267-2223-45DE-8024-B9FEC1D6A5C3}" presName="hierChild2" presStyleCnt="0"/>
      <dgm:spPr/>
    </dgm:pt>
    <dgm:pt modelId="{AA9567D9-5D54-421E-BD48-4A779E5907AE}" type="pres">
      <dgm:prSet presAssocID="{B69A1A0C-6E72-4A10-816E-BC48FEEAB6D1}" presName="Name64" presStyleLbl="parChTrans1D2" presStyleIdx="0" presStyleCnt="6"/>
      <dgm:spPr/>
    </dgm:pt>
    <dgm:pt modelId="{CA8B9C36-DF7C-4324-B9D4-375CEE85B547}" type="pres">
      <dgm:prSet presAssocID="{2BE81C31-2ACC-4696-846E-3FA69118AB63}" presName="hierRoot2" presStyleCnt="0">
        <dgm:presLayoutVars>
          <dgm:hierBranch val="init"/>
        </dgm:presLayoutVars>
      </dgm:prSet>
      <dgm:spPr/>
    </dgm:pt>
    <dgm:pt modelId="{43806D49-730A-4D81-B6AD-CF772766E6C4}" type="pres">
      <dgm:prSet presAssocID="{2BE81C31-2ACC-4696-846E-3FA69118AB63}" presName="rootComposite" presStyleCnt="0"/>
      <dgm:spPr/>
    </dgm:pt>
    <dgm:pt modelId="{752B40B5-1C64-41B3-87CB-4D8CEE7E4EDB}" type="pres">
      <dgm:prSet presAssocID="{2BE81C31-2ACC-4696-846E-3FA69118AB63}" presName="rootText" presStyleLbl="node2" presStyleIdx="0" presStyleCnt="6" custScaleX="253180">
        <dgm:presLayoutVars>
          <dgm:chPref val="3"/>
        </dgm:presLayoutVars>
      </dgm:prSet>
      <dgm:spPr/>
    </dgm:pt>
    <dgm:pt modelId="{E10E47E3-19A6-4659-AF60-E7C3608BC613}" type="pres">
      <dgm:prSet presAssocID="{2BE81C31-2ACC-4696-846E-3FA69118AB63}" presName="rootConnector" presStyleLbl="node2" presStyleIdx="0" presStyleCnt="6"/>
      <dgm:spPr/>
    </dgm:pt>
    <dgm:pt modelId="{27927554-9866-4641-8EBE-406D3BD62AD3}" type="pres">
      <dgm:prSet presAssocID="{2BE81C31-2ACC-4696-846E-3FA69118AB63}" presName="hierChild4" presStyleCnt="0"/>
      <dgm:spPr/>
    </dgm:pt>
    <dgm:pt modelId="{989DBF4F-80AB-40A9-9DC7-9B4B43B31CAF}" type="pres">
      <dgm:prSet presAssocID="{2BE81C31-2ACC-4696-846E-3FA69118AB63}" presName="hierChild5" presStyleCnt="0"/>
      <dgm:spPr/>
    </dgm:pt>
    <dgm:pt modelId="{BCEA4249-A6F3-43DD-B414-26EAA8CA6B16}" type="pres">
      <dgm:prSet presAssocID="{99CB8682-4CE6-4250-B480-B721E8D8D5D4}" presName="Name64" presStyleLbl="parChTrans1D2" presStyleIdx="1" presStyleCnt="6"/>
      <dgm:spPr/>
    </dgm:pt>
    <dgm:pt modelId="{09F5C912-D6FD-467E-A66D-0223114333A4}" type="pres">
      <dgm:prSet presAssocID="{1F00F5DE-F39C-47F0-91C9-C14DD5AAEBBB}" presName="hierRoot2" presStyleCnt="0">
        <dgm:presLayoutVars>
          <dgm:hierBranch val="init"/>
        </dgm:presLayoutVars>
      </dgm:prSet>
      <dgm:spPr/>
    </dgm:pt>
    <dgm:pt modelId="{EA5E853E-86D7-47E4-B5E5-FF3288AE9EB9}" type="pres">
      <dgm:prSet presAssocID="{1F00F5DE-F39C-47F0-91C9-C14DD5AAEBBB}" presName="rootComposite" presStyleCnt="0"/>
      <dgm:spPr/>
    </dgm:pt>
    <dgm:pt modelId="{8B77CCCB-8F8A-46F7-920F-C3759D6968F3}" type="pres">
      <dgm:prSet presAssocID="{1F00F5DE-F39C-47F0-91C9-C14DD5AAEBBB}" presName="rootText" presStyleLbl="node2" presStyleIdx="1" presStyleCnt="6" custScaleX="337774">
        <dgm:presLayoutVars>
          <dgm:chPref val="3"/>
        </dgm:presLayoutVars>
      </dgm:prSet>
      <dgm:spPr/>
    </dgm:pt>
    <dgm:pt modelId="{BA858A71-BFE4-43D4-A822-7F7D52BFC373}" type="pres">
      <dgm:prSet presAssocID="{1F00F5DE-F39C-47F0-91C9-C14DD5AAEBBB}" presName="rootConnector" presStyleLbl="node2" presStyleIdx="1" presStyleCnt="6"/>
      <dgm:spPr/>
    </dgm:pt>
    <dgm:pt modelId="{3C03DBFE-6BFC-452F-BEA1-7F3A96FC158F}" type="pres">
      <dgm:prSet presAssocID="{1F00F5DE-F39C-47F0-91C9-C14DD5AAEBBB}" presName="hierChild4" presStyleCnt="0"/>
      <dgm:spPr/>
    </dgm:pt>
    <dgm:pt modelId="{8D08FA9A-72A0-4FB8-BE36-6BC5067A3F3D}" type="pres">
      <dgm:prSet presAssocID="{1F00F5DE-F39C-47F0-91C9-C14DD5AAEBBB}" presName="hierChild5" presStyleCnt="0"/>
      <dgm:spPr/>
    </dgm:pt>
    <dgm:pt modelId="{38F27342-78A8-4A5B-A680-55EC4EE21264}" type="pres">
      <dgm:prSet presAssocID="{56902C84-978F-437F-A777-EDED21996530}" presName="Name64" presStyleLbl="parChTrans1D2" presStyleIdx="2" presStyleCnt="6"/>
      <dgm:spPr/>
    </dgm:pt>
    <dgm:pt modelId="{F717CAC6-5B87-48D6-BC5D-A9F03D6CCC7E}" type="pres">
      <dgm:prSet presAssocID="{7239CED5-511F-4321-BF39-65BB9D46719A}" presName="hierRoot2" presStyleCnt="0">
        <dgm:presLayoutVars>
          <dgm:hierBranch val="init"/>
        </dgm:presLayoutVars>
      </dgm:prSet>
      <dgm:spPr/>
    </dgm:pt>
    <dgm:pt modelId="{F2316DD1-FA8F-4CAF-9F9B-D07B17981418}" type="pres">
      <dgm:prSet presAssocID="{7239CED5-511F-4321-BF39-65BB9D46719A}" presName="rootComposite" presStyleCnt="0"/>
      <dgm:spPr/>
    </dgm:pt>
    <dgm:pt modelId="{DBDB1B21-8824-4972-B156-BC61951D5023}" type="pres">
      <dgm:prSet presAssocID="{7239CED5-511F-4321-BF39-65BB9D46719A}" presName="rootText" presStyleLbl="node2" presStyleIdx="2" presStyleCnt="6" custScaleX="365388">
        <dgm:presLayoutVars>
          <dgm:chPref val="3"/>
        </dgm:presLayoutVars>
      </dgm:prSet>
      <dgm:spPr/>
    </dgm:pt>
    <dgm:pt modelId="{33534F8E-CBC5-4CD3-A9E9-51554FFB3549}" type="pres">
      <dgm:prSet presAssocID="{7239CED5-511F-4321-BF39-65BB9D46719A}" presName="rootConnector" presStyleLbl="node2" presStyleIdx="2" presStyleCnt="6"/>
      <dgm:spPr/>
    </dgm:pt>
    <dgm:pt modelId="{372E4D32-E485-4360-BD0B-91D4C9DBE259}" type="pres">
      <dgm:prSet presAssocID="{7239CED5-511F-4321-BF39-65BB9D46719A}" presName="hierChild4" presStyleCnt="0"/>
      <dgm:spPr/>
    </dgm:pt>
    <dgm:pt modelId="{9D550400-5D05-46BD-A322-569FF604A348}" type="pres">
      <dgm:prSet presAssocID="{7239CED5-511F-4321-BF39-65BB9D46719A}" presName="hierChild5" presStyleCnt="0"/>
      <dgm:spPr/>
    </dgm:pt>
    <dgm:pt modelId="{4BAD2B1B-BB2C-4CA8-9682-321109220A02}" type="pres">
      <dgm:prSet presAssocID="{37685B57-DA98-4BDE-8636-44BC42CB79B7}" presName="Name64" presStyleLbl="parChTrans1D2" presStyleIdx="3" presStyleCnt="6"/>
      <dgm:spPr/>
    </dgm:pt>
    <dgm:pt modelId="{6C9553D2-96AD-407D-B0AB-8EA8828F6CCE}" type="pres">
      <dgm:prSet presAssocID="{36A38D13-2D91-452D-A54B-FC2B8BAF709B}" presName="hierRoot2" presStyleCnt="0">
        <dgm:presLayoutVars>
          <dgm:hierBranch val="init"/>
        </dgm:presLayoutVars>
      </dgm:prSet>
      <dgm:spPr/>
    </dgm:pt>
    <dgm:pt modelId="{5B1D9636-5705-44AF-99CE-290DDEE10150}" type="pres">
      <dgm:prSet presAssocID="{36A38D13-2D91-452D-A54B-FC2B8BAF709B}" presName="rootComposite" presStyleCnt="0"/>
      <dgm:spPr/>
    </dgm:pt>
    <dgm:pt modelId="{89F2E012-2B95-4203-A375-FE15264D9B17}" type="pres">
      <dgm:prSet presAssocID="{36A38D13-2D91-452D-A54B-FC2B8BAF709B}" presName="rootText" presStyleLbl="node2" presStyleIdx="3" presStyleCnt="6" custScaleX="470030">
        <dgm:presLayoutVars>
          <dgm:chPref val="3"/>
        </dgm:presLayoutVars>
      </dgm:prSet>
      <dgm:spPr/>
    </dgm:pt>
    <dgm:pt modelId="{878A5183-1CF0-4405-B557-A8A844CAC1B3}" type="pres">
      <dgm:prSet presAssocID="{36A38D13-2D91-452D-A54B-FC2B8BAF709B}" presName="rootConnector" presStyleLbl="node2" presStyleIdx="3" presStyleCnt="6"/>
      <dgm:spPr/>
    </dgm:pt>
    <dgm:pt modelId="{9911B838-9853-42A6-A754-922C5CD358DA}" type="pres">
      <dgm:prSet presAssocID="{36A38D13-2D91-452D-A54B-FC2B8BAF709B}" presName="hierChild4" presStyleCnt="0"/>
      <dgm:spPr/>
    </dgm:pt>
    <dgm:pt modelId="{C9E6C22F-B7B5-4311-A0C6-00499807CAEC}" type="pres">
      <dgm:prSet presAssocID="{36A38D13-2D91-452D-A54B-FC2B8BAF709B}" presName="hierChild5" presStyleCnt="0"/>
      <dgm:spPr/>
    </dgm:pt>
    <dgm:pt modelId="{603DE174-CC31-42B4-ABD6-69B51FD226B4}" type="pres">
      <dgm:prSet presAssocID="{FD50FCB3-94E0-46FA-8F78-737A71181F4E}" presName="Name64" presStyleLbl="parChTrans1D2" presStyleIdx="4" presStyleCnt="6"/>
      <dgm:spPr/>
    </dgm:pt>
    <dgm:pt modelId="{019AFC4A-4871-4885-B761-670642BE8D71}" type="pres">
      <dgm:prSet presAssocID="{05BA7853-806E-4205-BC5C-2EFED0F3583D}" presName="hierRoot2" presStyleCnt="0">
        <dgm:presLayoutVars>
          <dgm:hierBranch val="init"/>
        </dgm:presLayoutVars>
      </dgm:prSet>
      <dgm:spPr/>
    </dgm:pt>
    <dgm:pt modelId="{08EB2746-1A90-4257-A275-1ABA0C282173}" type="pres">
      <dgm:prSet presAssocID="{05BA7853-806E-4205-BC5C-2EFED0F3583D}" presName="rootComposite" presStyleCnt="0"/>
      <dgm:spPr/>
    </dgm:pt>
    <dgm:pt modelId="{E25A3F04-708F-46B0-8ADE-B62F3482CA26}" type="pres">
      <dgm:prSet presAssocID="{05BA7853-806E-4205-BC5C-2EFED0F3583D}" presName="rootText" presStyleLbl="node2" presStyleIdx="4" presStyleCnt="6" custScaleX="590414">
        <dgm:presLayoutVars>
          <dgm:chPref val="3"/>
        </dgm:presLayoutVars>
      </dgm:prSet>
      <dgm:spPr/>
    </dgm:pt>
    <dgm:pt modelId="{0400A756-1A15-480E-8436-123A278E35C7}" type="pres">
      <dgm:prSet presAssocID="{05BA7853-806E-4205-BC5C-2EFED0F3583D}" presName="rootConnector" presStyleLbl="node2" presStyleIdx="4" presStyleCnt="6"/>
      <dgm:spPr/>
    </dgm:pt>
    <dgm:pt modelId="{4C3663E4-0050-4D22-92DE-5BEAAB982F24}" type="pres">
      <dgm:prSet presAssocID="{05BA7853-806E-4205-BC5C-2EFED0F3583D}" presName="hierChild4" presStyleCnt="0"/>
      <dgm:spPr/>
    </dgm:pt>
    <dgm:pt modelId="{30A5E523-F3BE-4962-8B2D-7DA424AEF24F}" type="pres">
      <dgm:prSet presAssocID="{05BA7853-806E-4205-BC5C-2EFED0F3583D}" presName="hierChild5" presStyleCnt="0"/>
      <dgm:spPr/>
    </dgm:pt>
    <dgm:pt modelId="{B3EB168A-A0BB-4391-8919-A4D2672A5166}" type="pres">
      <dgm:prSet presAssocID="{E3235706-48AD-47A6-9F83-BAC65024B00F}" presName="Name64" presStyleLbl="parChTrans1D2" presStyleIdx="5" presStyleCnt="6"/>
      <dgm:spPr/>
    </dgm:pt>
    <dgm:pt modelId="{CE6398D3-DB0C-4738-8EFE-3F8315289E20}" type="pres">
      <dgm:prSet presAssocID="{277E31AD-6741-422A-B7FC-CDF34AFE0A01}" presName="hierRoot2" presStyleCnt="0">
        <dgm:presLayoutVars>
          <dgm:hierBranch val="init"/>
        </dgm:presLayoutVars>
      </dgm:prSet>
      <dgm:spPr/>
    </dgm:pt>
    <dgm:pt modelId="{85C7789A-1A3E-40ED-B912-F0554D6374B3}" type="pres">
      <dgm:prSet presAssocID="{277E31AD-6741-422A-B7FC-CDF34AFE0A01}" presName="rootComposite" presStyleCnt="0"/>
      <dgm:spPr/>
    </dgm:pt>
    <dgm:pt modelId="{953C6BB5-A6FF-4C5A-B56D-562A07A09D41}" type="pres">
      <dgm:prSet presAssocID="{277E31AD-6741-422A-B7FC-CDF34AFE0A01}" presName="rootText" presStyleLbl="node2" presStyleIdx="5" presStyleCnt="6" custScaleX="648554">
        <dgm:presLayoutVars>
          <dgm:chPref val="3"/>
        </dgm:presLayoutVars>
      </dgm:prSet>
      <dgm:spPr/>
    </dgm:pt>
    <dgm:pt modelId="{EA6F0907-5AC3-4102-B812-CBC860279110}" type="pres">
      <dgm:prSet presAssocID="{277E31AD-6741-422A-B7FC-CDF34AFE0A01}" presName="rootConnector" presStyleLbl="node2" presStyleIdx="5" presStyleCnt="6"/>
      <dgm:spPr/>
    </dgm:pt>
    <dgm:pt modelId="{A2A37047-8943-4475-AB7D-93B6797D7DD5}" type="pres">
      <dgm:prSet presAssocID="{277E31AD-6741-422A-B7FC-CDF34AFE0A01}" presName="hierChild4" presStyleCnt="0"/>
      <dgm:spPr/>
    </dgm:pt>
    <dgm:pt modelId="{4FA79866-2B35-4EE9-9202-57264E5344BA}" type="pres">
      <dgm:prSet presAssocID="{277E31AD-6741-422A-B7FC-CDF34AFE0A01}" presName="hierChild5" presStyleCnt="0"/>
      <dgm:spPr/>
    </dgm:pt>
    <dgm:pt modelId="{05B2015D-C638-4E72-865C-A7A46DB15814}" type="pres">
      <dgm:prSet presAssocID="{8B6A9267-2223-45DE-8024-B9FEC1D6A5C3}" presName="hierChild3" presStyleCnt="0"/>
      <dgm:spPr/>
    </dgm:pt>
    <dgm:pt modelId="{5385F8BD-7CF7-4218-A5CA-B82B28401A15}" type="pres">
      <dgm:prSet presAssocID="{50D9F6AD-F63A-4468-8382-FBF86D8A0087}" presName="hierRoot1" presStyleCnt="0">
        <dgm:presLayoutVars>
          <dgm:hierBranch val="init"/>
        </dgm:presLayoutVars>
      </dgm:prSet>
      <dgm:spPr/>
    </dgm:pt>
    <dgm:pt modelId="{62DEEDF7-A4DC-492C-A27B-63D72B2CFC46}" type="pres">
      <dgm:prSet presAssocID="{50D9F6AD-F63A-4468-8382-FBF86D8A0087}" presName="rootComposite1" presStyleCnt="0"/>
      <dgm:spPr/>
    </dgm:pt>
    <dgm:pt modelId="{B3E399A4-0759-4F12-8E46-1029FA6B38A8}" type="pres">
      <dgm:prSet presAssocID="{50D9F6AD-F63A-4468-8382-FBF86D8A0087}" presName="rootText1" presStyleLbl="node0" presStyleIdx="2" presStyleCnt="3" custScaleY="494287">
        <dgm:presLayoutVars>
          <dgm:chPref val="3"/>
        </dgm:presLayoutVars>
      </dgm:prSet>
      <dgm:spPr/>
    </dgm:pt>
    <dgm:pt modelId="{5C2BCC94-D5E4-4896-BABC-EFB3E809E5BB}" type="pres">
      <dgm:prSet presAssocID="{50D9F6AD-F63A-4468-8382-FBF86D8A0087}" presName="rootConnector1" presStyleLbl="node1" presStyleIdx="0" presStyleCnt="0"/>
      <dgm:spPr/>
    </dgm:pt>
    <dgm:pt modelId="{C43CF919-3A73-4766-A913-EADFB7ED7ABE}" type="pres">
      <dgm:prSet presAssocID="{50D9F6AD-F63A-4468-8382-FBF86D8A0087}" presName="hierChild2" presStyleCnt="0"/>
      <dgm:spPr/>
    </dgm:pt>
    <dgm:pt modelId="{E32A483E-F0CF-43CE-BFFD-1859E03CD70C}" type="pres">
      <dgm:prSet presAssocID="{50D9F6AD-F63A-4468-8382-FBF86D8A0087}" presName="hierChild3" presStyleCnt="0"/>
      <dgm:spPr/>
    </dgm:pt>
  </dgm:ptLst>
  <dgm:cxnLst>
    <dgm:cxn modelId="{C79BF704-05E6-4A90-978E-B6F7C7B08070}" type="presOf" srcId="{7239CED5-511F-4321-BF39-65BB9D46719A}" destId="{DBDB1B21-8824-4972-B156-BC61951D5023}" srcOrd="0" destOrd="0" presId="urn:microsoft.com/office/officeart/2009/3/layout/HorizontalOrganizationChart"/>
    <dgm:cxn modelId="{6A392E06-B184-4665-AF45-B0CA6F745016}" type="presOf" srcId="{277E31AD-6741-422A-B7FC-CDF34AFE0A01}" destId="{EA6F0907-5AC3-4102-B812-CBC860279110}" srcOrd="1" destOrd="0" presId="urn:microsoft.com/office/officeart/2009/3/layout/HorizontalOrganizationChart"/>
    <dgm:cxn modelId="{1EA7C40C-3077-4E1A-AF80-61F43D6F49D4}" srcId="{8B6A9267-2223-45DE-8024-B9FEC1D6A5C3}" destId="{7239CED5-511F-4321-BF39-65BB9D46719A}" srcOrd="2" destOrd="0" parTransId="{56902C84-978F-437F-A777-EDED21996530}" sibTransId="{E5377EDB-1E77-4410-A3D4-53082A78EB5F}"/>
    <dgm:cxn modelId="{9F5FF415-494E-4055-8AD4-4AC1E4B768F5}" type="presOf" srcId="{7239CED5-511F-4321-BF39-65BB9D46719A}" destId="{33534F8E-CBC5-4CD3-A9E9-51554FFB3549}" srcOrd="1" destOrd="0" presId="urn:microsoft.com/office/officeart/2009/3/layout/HorizontalOrganizationChart"/>
    <dgm:cxn modelId="{80BB591D-B332-49AB-9B8A-18490AE0D935}" type="presOf" srcId="{B69A1A0C-6E72-4A10-816E-BC48FEEAB6D1}" destId="{AA9567D9-5D54-421E-BD48-4A779E5907AE}" srcOrd="0" destOrd="0" presId="urn:microsoft.com/office/officeart/2009/3/layout/HorizontalOrganizationChart"/>
    <dgm:cxn modelId="{B2D78C26-8017-47CB-978F-9E7AFF621C71}" srcId="{8B6A9267-2223-45DE-8024-B9FEC1D6A5C3}" destId="{277E31AD-6741-422A-B7FC-CDF34AFE0A01}" srcOrd="5" destOrd="0" parTransId="{E3235706-48AD-47A6-9F83-BAC65024B00F}" sibTransId="{F64FF1B0-E7FF-4777-A0BF-ECE532DC07B5}"/>
    <dgm:cxn modelId="{ED9D6E3B-A9CC-4937-A3C1-07FDC38C102D}" type="presOf" srcId="{2BE81C31-2ACC-4696-846E-3FA69118AB63}" destId="{752B40B5-1C64-41B3-87CB-4D8CEE7E4EDB}" srcOrd="0" destOrd="0" presId="urn:microsoft.com/office/officeart/2009/3/layout/HorizontalOrganizationChart"/>
    <dgm:cxn modelId="{F91E4541-5935-4065-A579-FF79CF385210}" type="presOf" srcId="{2BE81C31-2ACC-4696-846E-3FA69118AB63}" destId="{E10E47E3-19A6-4659-AF60-E7C3608BC613}" srcOrd="1" destOrd="0" presId="urn:microsoft.com/office/officeart/2009/3/layout/HorizontalOrganizationChart"/>
    <dgm:cxn modelId="{0E481C43-9064-4869-9273-D6974649E1F2}" srcId="{8B6A9267-2223-45DE-8024-B9FEC1D6A5C3}" destId="{2BE81C31-2ACC-4696-846E-3FA69118AB63}" srcOrd="0" destOrd="0" parTransId="{B69A1A0C-6E72-4A10-816E-BC48FEEAB6D1}" sibTransId="{8958942B-D8E1-44F2-B585-06711B34207C}"/>
    <dgm:cxn modelId="{95FEC04B-82F0-4E16-90F2-DBAD83A74749}" type="presOf" srcId="{1F00F5DE-F39C-47F0-91C9-C14DD5AAEBBB}" destId="{8B77CCCB-8F8A-46F7-920F-C3759D6968F3}" srcOrd="0" destOrd="0" presId="urn:microsoft.com/office/officeart/2009/3/layout/HorizontalOrganizationChart"/>
    <dgm:cxn modelId="{0513216E-2643-4AA5-AF40-7B6C418DB281}" type="presOf" srcId="{277E31AD-6741-422A-B7FC-CDF34AFE0A01}" destId="{953C6BB5-A6FF-4C5A-B56D-562A07A09D41}" srcOrd="0" destOrd="0" presId="urn:microsoft.com/office/officeart/2009/3/layout/HorizontalOrganizationChart"/>
    <dgm:cxn modelId="{637CF370-509C-482F-9D10-F829D7282CD0}" type="presOf" srcId="{50D9F6AD-F63A-4468-8382-FBF86D8A0087}" destId="{5C2BCC94-D5E4-4896-BABC-EFB3E809E5BB}" srcOrd="1" destOrd="0" presId="urn:microsoft.com/office/officeart/2009/3/layout/HorizontalOrganizationChart"/>
    <dgm:cxn modelId="{90C4D877-0551-46F8-A1FB-71126AC49C4E}" srcId="{CA4003F9-D67F-47CC-9B4D-00A207EDFA73}" destId="{50D9F6AD-F63A-4468-8382-FBF86D8A0087}" srcOrd="2" destOrd="0" parTransId="{8501D81E-C0CE-434D-A6D7-478659775981}" sibTransId="{E953A9B6-C43F-4FB2-A9EB-96281FDB4016}"/>
    <dgm:cxn modelId="{38308B5A-AAA8-4FC7-9784-5282452E2F56}" srcId="{8B6A9267-2223-45DE-8024-B9FEC1D6A5C3}" destId="{36A38D13-2D91-452D-A54B-FC2B8BAF709B}" srcOrd="3" destOrd="0" parTransId="{37685B57-DA98-4BDE-8636-44BC42CB79B7}" sibTransId="{28FA58D9-46F7-40B2-9412-98380D7462DA}"/>
    <dgm:cxn modelId="{9D350D7E-499F-47F7-83DF-5A850CB57BA5}" type="presOf" srcId="{CA4003F9-D67F-47CC-9B4D-00A207EDFA73}" destId="{F1658E1F-8F2F-49A7-A282-0CA078C56466}" srcOrd="0" destOrd="0" presId="urn:microsoft.com/office/officeart/2009/3/layout/HorizontalOrganizationChart"/>
    <dgm:cxn modelId="{A7273F81-CC20-46E8-ADDB-5FF0C4A3B69C}" type="presOf" srcId="{99CB8682-4CE6-4250-B480-B721E8D8D5D4}" destId="{BCEA4249-A6F3-43DD-B414-26EAA8CA6B16}" srcOrd="0" destOrd="0" presId="urn:microsoft.com/office/officeart/2009/3/layout/HorizontalOrganizationChart"/>
    <dgm:cxn modelId="{61646092-C059-4C01-8E66-75A7770C1816}" type="presOf" srcId="{8B6A9267-2223-45DE-8024-B9FEC1D6A5C3}" destId="{3A2DD7D4-0025-4538-8E50-7B1D1275730A}" srcOrd="0" destOrd="0" presId="urn:microsoft.com/office/officeart/2009/3/layout/HorizontalOrganizationChart"/>
    <dgm:cxn modelId="{0485DC97-82EB-4646-96C9-94C260B705D0}" type="presOf" srcId="{E3235706-48AD-47A6-9F83-BAC65024B00F}" destId="{B3EB168A-A0BB-4391-8919-A4D2672A5166}" srcOrd="0" destOrd="0" presId="urn:microsoft.com/office/officeart/2009/3/layout/HorizontalOrganizationChart"/>
    <dgm:cxn modelId="{AD5FDA9D-69C6-41D4-9ABD-2A7CC4760E8E}" type="presOf" srcId="{36A38D13-2D91-452D-A54B-FC2B8BAF709B}" destId="{89F2E012-2B95-4203-A375-FE15264D9B17}" srcOrd="0" destOrd="0" presId="urn:microsoft.com/office/officeart/2009/3/layout/HorizontalOrganizationChart"/>
    <dgm:cxn modelId="{5CC198A2-AFF7-458C-BBA5-2F7301FB9F2A}" type="presOf" srcId="{8B6A9267-2223-45DE-8024-B9FEC1D6A5C3}" destId="{55F5A940-BB62-47FF-95B1-CF8C524936F3}" srcOrd="1" destOrd="0" presId="urn:microsoft.com/office/officeart/2009/3/layout/HorizontalOrganizationChart"/>
    <dgm:cxn modelId="{44E533B0-D1E8-44CB-AF93-C39B1FA11505}" type="presOf" srcId="{50D9F6AD-F63A-4468-8382-FBF86D8A0087}" destId="{B3E399A4-0759-4F12-8E46-1029FA6B38A8}" srcOrd="0" destOrd="0" presId="urn:microsoft.com/office/officeart/2009/3/layout/HorizontalOrganizationChart"/>
    <dgm:cxn modelId="{6EA266B3-4F56-455F-8D15-41699BF35A70}" type="presOf" srcId="{05BA7853-806E-4205-BC5C-2EFED0F3583D}" destId="{E25A3F04-708F-46B0-8ADE-B62F3482CA26}" srcOrd="0" destOrd="0" presId="urn:microsoft.com/office/officeart/2009/3/layout/HorizontalOrganizationChart"/>
    <dgm:cxn modelId="{20A363B4-DFA1-4B37-8F17-068BDEF51688}" type="presOf" srcId="{37685B57-DA98-4BDE-8636-44BC42CB79B7}" destId="{4BAD2B1B-BB2C-4CA8-9682-321109220A02}" srcOrd="0" destOrd="0" presId="urn:microsoft.com/office/officeart/2009/3/layout/HorizontalOrganizationChart"/>
    <dgm:cxn modelId="{E67796C0-D483-4245-9DF8-08FAB18B8EBD}" srcId="{8B6A9267-2223-45DE-8024-B9FEC1D6A5C3}" destId="{05BA7853-806E-4205-BC5C-2EFED0F3583D}" srcOrd="4" destOrd="0" parTransId="{FD50FCB3-94E0-46FA-8F78-737A71181F4E}" sibTransId="{4BE6B6DE-74F2-4920-A7C7-2F0158C49951}"/>
    <dgm:cxn modelId="{91FA91C3-8070-4B9B-AF8A-F848D75FD32F}" type="presOf" srcId="{5609987F-AF7B-4DB7-BB04-1F666EEF02A7}" destId="{5E117A49-4EAE-41ED-842D-B175378B540F}" srcOrd="0" destOrd="0" presId="urn:microsoft.com/office/officeart/2009/3/layout/HorizontalOrganizationChart"/>
    <dgm:cxn modelId="{6C2C99CD-3FDE-4C31-9F5B-925449FE6B01}" srcId="{CA4003F9-D67F-47CC-9B4D-00A207EDFA73}" destId="{5609987F-AF7B-4DB7-BB04-1F666EEF02A7}" srcOrd="0" destOrd="0" parTransId="{E7C2BEEC-16D8-4256-8543-23371C3CDB58}" sibTransId="{A5D3F81B-2AE3-4E62-B29A-6CF4D42C9629}"/>
    <dgm:cxn modelId="{A4FF47D5-B121-40A3-8A9D-140F10757E74}" srcId="{CA4003F9-D67F-47CC-9B4D-00A207EDFA73}" destId="{8B6A9267-2223-45DE-8024-B9FEC1D6A5C3}" srcOrd="1" destOrd="0" parTransId="{DA2FF1A7-5475-450E-B573-55A4DF4EDC9E}" sibTransId="{751EDFCA-60E1-4006-AE8F-486719909D5A}"/>
    <dgm:cxn modelId="{A1BB01D7-475C-4860-93FC-4CAA17889ED0}" type="presOf" srcId="{36A38D13-2D91-452D-A54B-FC2B8BAF709B}" destId="{878A5183-1CF0-4405-B557-A8A844CAC1B3}" srcOrd="1" destOrd="0" presId="urn:microsoft.com/office/officeart/2009/3/layout/HorizontalOrganizationChart"/>
    <dgm:cxn modelId="{259DE8DB-3498-4135-8648-8273E65D7072}" type="presOf" srcId="{05BA7853-806E-4205-BC5C-2EFED0F3583D}" destId="{0400A756-1A15-480E-8436-123A278E35C7}" srcOrd="1" destOrd="0" presId="urn:microsoft.com/office/officeart/2009/3/layout/HorizontalOrganizationChart"/>
    <dgm:cxn modelId="{B16502DD-46D8-49CC-9126-852D4BDC9FEE}" srcId="{8B6A9267-2223-45DE-8024-B9FEC1D6A5C3}" destId="{1F00F5DE-F39C-47F0-91C9-C14DD5AAEBBB}" srcOrd="1" destOrd="0" parTransId="{99CB8682-4CE6-4250-B480-B721E8D8D5D4}" sibTransId="{EEE9BE7D-3747-415B-A89B-94932BE147A3}"/>
    <dgm:cxn modelId="{06A196EC-6DF0-4373-A270-691CD1C70193}" type="presOf" srcId="{1F00F5DE-F39C-47F0-91C9-C14DD5AAEBBB}" destId="{BA858A71-BFE4-43D4-A822-7F7D52BFC373}" srcOrd="1" destOrd="0" presId="urn:microsoft.com/office/officeart/2009/3/layout/HorizontalOrganizationChart"/>
    <dgm:cxn modelId="{1D3578F1-0755-4318-9109-DB03BA0A7903}" type="presOf" srcId="{56902C84-978F-437F-A777-EDED21996530}" destId="{38F27342-78A8-4A5B-A680-55EC4EE21264}" srcOrd="0" destOrd="0" presId="urn:microsoft.com/office/officeart/2009/3/layout/HorizontalOrganizationChart"/>
    <dgm:cxn modelId="{222F37F2-0D68-4EDC-B3BB-E637BEE61BAD}" type="presOf" srcId="{FD50FCB3-94E0-46FA-8F78-737A71181F4E}" destId="{603DE174-CC31-42B4-ABD6-69B51FD226B4}" srcOrd="0" destOrd="0" presId="urn:microsoft.com/office/officeart/2009/3/layout/HorizontalOrganizationChart"/>
    <dgm:cxn modelId="{23FA68F5-A868-413E-B2C0-290C20E99F29}" type="presOf" srcId="{5609987F-AF7B-4DB7-BB04-1F666EEF02A7}" destId="{2F4604AE-085A-4395-8358-8BB43ADC367C}" srcOrd="1" destOrd="0" presId="urn:microsoft.com/office/officeart/2009/3/layout/HorizontalOrganizationChart"/>
    <dgm:cxn modelId="{44529AB6-0EEA-4908-B186-EFC104E5A48F}" type="presParOf" srcId="{F1658E1F-8F2F-49A7-A282-0CA078C56466}" destId="{AB989FA0-AF3E-4F78-8138-85E36FC45892}" srcOrd="0" destOrd="0" presId="urn:microsoft.com/office/officeart/2009/3/layout/HorizontalOrganizationChart"/>
    <dgm:cxn modelId="{7BC1C49A-5C57-4C3F-BE6F-78EFF071D604}" type="presParOf" srcId="{AB989FA0-AF3E-4F78-8138-85E36FC45892}" destId="{B322841C-2A61-43F9-8F94-B337BA1A92B5}" srcOrd="0" destOrd="0" presId="urn:microsoft.com/office/officeart/2009/3/layout/HorizontalOrganizationChart"/>
    <dgm:cxn modelId="{30417401-0248-4906-8B74-F17E05BD4DCC}" type="presParOf" srcId="{B322841C-2A61-43F9-8F94-B337BA1A92B5}" destId="{5E117A49-4EAE-41ED-842D-B175378B540F}" srcOrd="0" destOrd="0" presId="urn:microsoft.com/office/officeart/2009/3/layout/HorizontalOrganizationChart"/>
    <dgm:cxn modelId="{628739C2-6440-4DCC-914F-E47139DB47C4}" type="presParOf" srcId="{B322841C-2A61-43F9-8F94-B337BA1A92B5}" destId="{2F4604AE-085A-4395-8358-8BB43ADC367C}" srcOrd="1" destOrd="0" presId="urn:microsoft.com/office/officeart/2009/3/layout/HorizontalOrganizationChart"/>
    <dgm:cxn modelId="{A7E82F50-134D-4325-B1B3-A03072A93E1E}" type="presParOf" srcId="{AB989FA0-AF3E-4F78-8138-85E36FC45892}" destId="{506151BC-6383-4454-9734-C4B1DDE7FF90}" srcOrd="1" destOrd="0" presId="urn:microsoft.com/office/officeart/2009/3/layout/HorizontalOrganizationChart"/>
    <dgm:cxn modelId="{3BD7E289-CCDD-4551-8E6B-B8F547961DBA}" type="presParOf" srcId="{AB989FA0-AF3E-4F78-8138-85E36FC45892}" destId="{87B33926-E59D-48BC-AE98-8FA3FF950BAE}" srcOrd="2" destOrd="0" presId="urn:microsoft.com/office/officeart/2009/3/layout/HorizontalOrganizationChart"/>
    <dgm:cxn modelId="{80F0CDC7-814A-4EDC-B195-3FF847AD774F}" type="presParOf" srcId="{F1658E1F-8F2F-49A7-A282-0CA078C56466}" destId="{2146C7A2-C974-4FD3-80FF-9D2A94655D92}" srcOrd="1" destOrd="0" presId="urn:microsoft.com/office/officeart/2009/3/layout/HorizontalOrganizationChart"/>
    <dgm:cxn modelId="{25948352-B677-49D3-B356-09E3699D791A}" type="presParOf" srcId="{2146C7A2-C974-4FD3-80FF-9D2A94655D92}" destId="{3C48C9A6-F544-4F11-BFD3-B2DD5112AB58}" srcOrd="0" destOrd="0" presId="urn:microsoft.com/office/officeart/2009/3/layout/HorizontalOrganizationChart"/>
    <dgm:cxn modelId="{9279D4E8-82AD-47A0-9BD6-8ADA1C8419FB}" type="presParOf" srcId="{3C48C9A6-F544-4F11-BFD3-B2DD5112AB58}" destId="{3A2DD7D4-0025-4538-8E50-7B1D1275730A}" srcOrd="0" destOrd="0" presId="urn:microsoft.com/office/officeart/2009/3/layout/HorizontalOrganizationChart"/>
    <dgm:cxn modelId="{9FAB0B2E-0852-47BC-BF1E-ACC997AD5B82}" type="presParOf" srcId="{3C48C9A6-F544-4F11-BFD3-B2DD5112AB58}" destId="{55F5A940-BB62-47FF-95B1-CF8C524936F3}" srcOrd="1" destOrd="0" presId="urn:microsoft.com/office/officeart/2009/3/layout/HorizontalOrganizationChart"/>
    <dgm:cxn modelId="{6B1C6A19-C95C-4ACB-BDE9-A472D81E522B}" type="presParOf" srcId="{2146C7A2-C974-4FD3-80FF-9D2A94655D92}" destId="{B2F8263F-D4F3-406C-A4E3-55F4D98BDE64}" srcOrd="1" destOrd="0" presId="urn:microsoft.com/office/officeart/2009/3/layout/HorizontalOrganizationChart"/>
    <dgm:cxn modelId="{8D63A420-B9F8-43F5-AC0C-0AB0E0EE4B09}" type="presParOf" srcId="{B2F8263F-D4F3-406C-A4E3-55F4D98BDE64}" destId="{AA9567D9-5D54-421E-BD48-4A779E5907AE}" srcOrd="0" destOrd="0" presId="urn:microsoft.com/office/officeart/2009/3/layout/HorizontalOrganizationChart"/>
    <dgm:cxn modelId="{6F44E849-7301-4D2D-938F-24BE372FFF0F}" type="presParOf" srcId="{B2F8263F-D4F3-406C-A4E3-55F4D98BDE64}" destId="{CA8B9C36-DF7C-4324-B9D4-375CEE85B547}" srcOrd="1" destOrd="0" presId="urn:microsoft.com/office/officeart/2009/3/layout/HorizontalOrganizationChart"/>
    <dgm:cxn modelId="{D24CFBE5-9BBC-4AD5-88AE-4FDB246A0EB9}" type="presParOf" srcId="{CA8B9C36-DF7C-4324-B9D4-375CEE85B547}" destId="{43806D49-730A-4D81-B6AD-CF772766E6C4}" srcOrd="0" destOrd="0" presId="urn:microsoft.com/office/officeart/2009/3/layout/HorizontalOrganizationChart"/>
    <dgm:cxn modelId="{87E74011-0389-4CB5-A903-69ECA339446C}" type="presParOf" srcId="{43806D49-730A-4D81-B6AD-CF772766E6C4}" destId="{752B40B5-1C64-41B3-87CB-4D8CEE7E4EDB}" srcOrd="0" destOrd="0" presId="urn:microsoft.com/office/officeart/2009/3/layout/HorizontalOrganizationChart"/>
    <dgm:cxn modelId="{0103248B-2034-46AA-8AC2-A66D17FEEA4D}" type="presParOf" srcId="{43806D49-730A-4D81-B6AD-CF772766E6C4}" destId="{E10E47E3-19A6-4659-AF60-E7C3608BC613}" srcOrd="1" destOrd="0" presId="urn:microsoft.com/office/officeart/2009/3/layout/HorizontalOrganizationChart"/>
    <dgm:cxn modelId="{AE0E032D-6886-4439-A368-AA9FD73CA7D0}" type="presParOf" srcId="{CA8B9C36-DF7C-4324-B9D4-375CEE85B547}" destId="{27927554-9866-4641-8EBE-406D3BD62AD3}" srcOrd="1" destOrd="0" presId="urn:microsoft.com/office/officeart/2009/3/layout/HorizontalOrganizationChart"/>
    <dgm:cxn modelId="{DF500335-F5D3-4C50-9D1E-12406DC43F32}" type="presParOf" srcId="{CA8B9C36-DF7C-4324-B9D4-375CEE85B547}" destId="{989DBF4F-80AB-40A9-9DC7-9B4B43B31CAF}" srcOrd="2" destOrd="0" presId="urn:microsoft.com/office/officeart/2009/3/layout/HorizontalOrganizationChart"/>
    <dgm:cxn modelId="{5A656F25-100E-4426-B853-AE82368A928F}" type="presParOf" srcId="{B2F8263F-D4F3-406C-A4E3-55F4D98BDE64}" destId="{BCEA4249-A6F3-43DD-B414-26EAA8CA6B16}" srcOrd="2" destOrd="0" presId="urn:microsoft.com/office/officeart/2009/3/layout/HorizontalOrganizationChart"/>
    <dgm:cxn modelId="{77F2FF2A-9756-429F-8716-E20500DA944D}" type="presParOf" srcId="{B2F8263F-D4F3-406C-A4E3-55F4D98BDE64}" destId="{09F5C912-D6FD-467E-A66D-0223114333A4}" srcOrd="3" destOrd="0" presId="urn:microsoft.com/office/officeart/2009/3/layout/HorizontalOrganizationChart"/>
    <dgm:cxn modelId="{64FBADCD-3D92-470F-93FB-626F57D2DE4F}" type="presParOf" srcId="{09F5C912-D6FD-467E-A66D-0223114333A4}" destId="{EA5E853E-86D7-47E4-B5E5-FF3288AE9EB9}" srcOrd="0" destOrd="0" presId="urn:microsoft.com/office/officeart/2009/3/layout/HorizontalOrganizationChart"/>
    <dgm:cxn modelId="{5F14D24B-23B1-4D43-AADD-54F0713D2E7B}" type="presParOf" srcId="{EA5E853E-86D7-47E4-B5E5-FF3288AE9EB9}" destId="{8B77CCCB-8F8A-46F7-920F-C3759D6968F3}" srcOrd="0" destOrd="0" presId="urn:microsoft.com/office/officeart/2009/3/layout/HorizontalOrganizationChart"/>
    <dgm:cxn modelId="{7F9EB891-A653-4676-9BA9-5EDA434040AF}" type="presParOf" srcId="{EA5E853E-86D7-47E4-B5E5-FF3288AE9EB9}" destId="{BA858A71-BFE4-43D4-A822-7F7D52BFC373}" srcOrd="1" destOrd="0" presId="urn:microsoft.com/office/officeart/2009/3/layout/HorizontalOrganizationChart"/>
    <dgm:cxn modelId="{66C795F5-01CE-4510-AF33-CBBC4CCA88FB}" type="presParOf" srcId="{09F5C912-D6FD-467E-A66D-0223114333A4}" destId="{3C03DBFE-6BFC-452F-BEA1-7F3A96FC158F}" srcOrd="1" destOrd="0" presId="urn:microsoft.com/office/officeart/2009/3/layout/HorizontalOrganizationChart"/>
    <dgm:cxn modelId="{83502572-F36E-4D56-8A2C-EC690E46E22E}" type="presParOf" srcId="{09F5C912-D6FD-467E-A66D-0223114333A4}" destId="{8D08FA9A-72A0-4FB8-BE36-6BC5067A3F3D}" srcOrd="2" destOrd="0" presId="urn:microsoft.com/office/officeart/2009/3/layout/HorizontalOrganizationChart"/>
    <dgm:cxn modelId="{289358E7-F207-43F4-AA39-77A3FC0AC179}" type="presParOf" srcId="{B2F8263F-D4F3-406C-A4E3-55F4D98BDE64}" destId="{38F27342-78A8-4A5B-A680-55EC4EE21264}" srcOrd="4" destOrd="0" presId="urn:microsoft.com/office/officeart/2009/3/layout/HorizontalOrganizationChart"/>
    <dgm:cxn modelId="{FC2E6699-11D2-4661-8E81-3B8280269CA9}" type="presParOf" srcId="{B2F8263F-D4F3-406C-A4E3-55F4D98BDE64}" destId="{F717CAC6-5B87-48D6-BC5D-A9F03D6CCC7E}" srcOrd="5" destOrd="0" presId="urn:microsoft.com/office/officeart/2009/3/layout/HorizontalOrganizationChart"/>
    <dgm:cxn modelId="{2030F6A0-7A8E-46BD-9CE7-129F583D36D0}" type="presParOf" srcId="{F717CAC6-5B87-48D6-BC5D-A9F03D6CCC7E}" destId="{F2316DD1-FA8F-4CAF-9F9B-D07B17981418}" srcOrd="0" destOrd="0" presId="urn:microsoft.com/office/officeart/2009/3/layout/HorizontalOrganizationChart"/>
    <dgm:cxn modelId="{F45B93AD-A20A-443D-9ADE-23B6635A3B08}" type="presParOf" srcId="{F2316DD1-FA8F-4CAF-9F9B-D07B17981418}" destId="{DBDB1B21-8824-4972-B156-BC61951D5023}" srcOrd="0" destOrd="0" presId="urn:microsoft.com/office/officeart/2009/3/layout/HorizontalOrganizationChart"/>
    <dgm:cxn modelId="{D4BA2B5E-0079-4D1F-9211-EA317EDEA713}" type="presParOf" srcId="{F2316DD1-FA8F-4CAF-9F9B-D07B17981418}" destId="{33534F8E-CBC5-4CD3-A9E9-51554FFB3549}" srcOrd="1" destOrd="0" presId="urn:microsoft.com/office/officeart/2009/3/layout/HorizontalOrganizationChart"/>
    <dgm:cxn modelId="{6C44EB0B-1E9B-4710-96A0-504FD60C118C}" type="presParOf" srcId="{F717CAC6-5B87-48D6-BC5D-A9F03D6CCC7E}" destId="{372E4D32-E485-4360-BD0B-91D4C9DBE259}" srcOrd="1" destOrd="0" presId="urn:microsoft.com/office/officeart/2009/3/layout/HorizontalOrganizationChart"/>
    <dgm:cxn modelId="{EB18A3A6-2CB0-4BCF-9BF1-C33BDB5F34C1}" type="presParOf" srcId="{F717CAC6-5B87-48D6-BC5D-A9F03D6CCC7E}" destId="{9D550400-5D05-46BD-A322-569FF604A348}" srcOrd="2" destOrd="0" presId="urn:microsoft.com/office/officeart/2009/3/layout/HorizontalOrganizationChart"/>
    <dgm:cxn modelId="{A3D2D359-0089-4441-AE5F-AEC8DA3F1552}" type="presParOf" srcId="{B2F8263F-D4F3-406C-A4E3-55F4D98BDE64}" destId="{4BAD2B1B-BB2C-4CA8-9682-321109220A02}" srcOrd="6" destOrd="0" presId="urn:microsoft.com/office/officeart/2009/3/layout/HorizontalOrganizationChart"/>
    <dgm:cxn modelId="{B5737FF7-7711-4542-8F84-44DE512E4E1B}" type="presParOf" srcId="{B2F8263F-D4F3-406C-A4E3-55F4D98BDE64}" destId="{6C9553D2-96AD-407D-B0AB-8EA8828F6CCE}" srcOrd="7" destOrd="0" presId="urn:microsoft.com/office/officeart/2009/3/layout/HorizontalOrganizationChart"/>
    <dgm:cxn modelId="{D5FC5AB5-DD32-421C-8EE0-65434275A63E}" type="presParOf" srcId="{6C9553D2-96AD-407D-B0AB-8EA8828F6CCE}" destId="{5B1D9636-5705-44AF-99CE-290DDEE10150}" srcOrd="0" destOrd="0" presId="urn:microsoft.com/office/officeart/2009/3/layout/HorizontalOrganizationChart"/>
    <dgm:cxn modelId="{23835B6D-BC7D-4646-9060-11A5EA331393}" type="presParOf" srcId="{5B1D9636-5705-44AF-99CE-290DDEE10150}" destId="{89F2E012-2B95-4203-A375-FE15264D9B17}" srcOrd="0" destOrd="0" presId="urn:microsoft.com/office/officeart/2009/3/layout/HorizontalOrganizationChart"/>
    <dgm:cxn modelId="{6A8CD3AE-1A51-4BC9-9A2B-F05B055367C3}" type="presParOf" srcId="{5B1D9636-5705-44AF-99CE-290DDEE10150}" destId="{878A5183-1CF0-4405-B557-A8A844CAC1B3}" srcOrd="1" destOrd="0" presId="urn:microsoft.com/office/officeart/2009/3/layout/HorizontalOrganizationChart"/>
    <dgm:cxn modelId="{E6EF433C-B2EB-4459-9EB8-89EA30D4C22D}" type="presParOf" srcId="{6C9553D2-96AD-407D-B0AB-8EA8828F6CCE}" destId="{9911B838-9853-42A6-A754-922C5CD358DA}" srcOrd="1" destOrd="0" presId="urn:microsoft.com/office/officeart/2009/3/layout/HorizontalOrganizationChart"/>
    <dgm:cxn modelId="{7E53D3C4-4A38-4664-8CAE-A6E2E80B25E0}" type="presParOf" srcId="{6C9553D2-96AD-407D-B0AB-8EA8828F6CCE}" destId="{C9E6C22F-B7B5-4311-A0C6-00499807CAEC}" srcOrd="2" destOrd="0" presId="urn:microsoft.com/office/officeart/2009/3/layout/HorizontalOrganizationChart"/>
    <dgm:cxn modelId="{5AD74B8A-CD20-44FC-853C-480D1437CFD1}" type="presParOf" srcId="{B2F8263F-D4F3-406C-A4E3-55F4D98BDE64}" destId="{603DE174-CC31-42B4-ABD6-69B51FD226B4}" srcOrd="8" destOrd="0" presId="urn:microsoft.com/office/officeart/2009/3/layout/HorizontalOrganizationChart"/>
    <dgm:cxn modelId="{B4EBC94A-7852-4A7A-9BF6-D6B958FFAC6B}" type="presParOf" srcId="{B2F8263F-D4F3-406C-A4E3-55F4D98BDE64}" destId="{019AFC4A-4871-4885-B761-670642BE8D71}" srcOrd="9" destOrd="0" presId="urn:microsoft.com/office/officeart/2009/3/layout/HorizontalOrganizationChart"/>
    <dgm:cxn modelId="{7E23ACA7-49EC-4DF7-B168-1BE17A2C6D64}" type="presParOf" srcId="{019AFC4A-4871-4885-B761-670642BE8D71}" destId="{08EB2746-1A90-4257-A275-1ABA0C282173}" srcOrd="0" destOrd="0" presId="urn:microsoft.com/office/officeart/2009/3/layout/HorizontalOrganizationChart"/>
    <dgm:cxn modelId="{0688194E-FCA1-4C51-8909-A0F38A9B878A}" type="presParOf" srcId="{08EB2746-1A90-4257-A275-1ABA0C282173}" destId="{E25A3F04-708F-46B0-8ADE-B62F3482CA26}" srcOrd="0" destOrd="0" presId="urn:microsoft.com/office/officeart/2009/3/layout/HorizontalOrganizationChart"/>
    <dgm:cxn modelId="{9C9FB909-0187-418F-927C-A4A57DCF8443}" type="presParOf" srcId="{08EB2746-1A90-4257-A275-1ABA0C282173}" destId="{0400A756-1A15-480E-8436-123A278E35C7}" srcOrd="1" destOrd="0" presId="urn:microsoft.com/office/officeart/2009/3/layout/HorizontalOrganizationChart"/>
    <dgm:cxn modelId="{F244993C-A457-432A-907B-DA8205B361F5}" type="presParOf" srcId="{019AFC4A-4871-4885-B761-670642BE8D71}" destId="{4C3663E4-0050-4D22-92DE-5BEAAB982F24}" srcOrd="1" destOrd="0" presId="urn:microsoft.com/office/officeart/2009/3/layout/HorizontalOrganizationChart"/>
    <dgm:cxn modelId="{039B9D1C-3234-4655-AD09-6F2DA439C5F4}" type="presParOf" srcId="{019AFC4A-4871-4885-B761-670642BE8D71}" destId="{30A5E523-F3BE-4962-8B2D-7DA424AEF24F}" srcOrd="2" destOrd="0" presId="urn:microsoft.com/office/officeart/2009/3/layout/HorizontalOrganizationChart"/>
    <dgm:cxn modelId="{10A746F8-80EA-4A65-8E57-1E44BB49264B}" type="presParOf" srcId="{B2F8263F-D4F3-406C-A4E3-55F4D98BDE64}" destId="{B3EB168A-A0BB-4391-8919-A4D2672A5166}" srcOrd="10" destOrd="0" presId="urn:microsoft.com/office/officeart/2009/3/layout/HorizontalOrganizationChart"/>
    <dgm:cxn modelId="{660526E9-B61F-4EFF-AD0F-45507F1B0EB7}" type="presParOf" srcId="{B2F8263F-D4F3-406C-A4E3-55F4D98BDE64}" destId="{CE6398D3-DB0C-4738-8EFE-3F8315289E20}" srcOrd="11" destOrd="0" presId="urn:microsoft.com/office/officeart/2009/3/layout/HorizontalOrganizationChart"/>
    <dgm:cxn modelId="{9F706BD2-7CE2-40F8-A389-EC1E4797FEDD}" type="presParOf" srcId="{CE6398D3-DB0C-4738-8EFE-3F8315289E20}" destId="{85C7789A-1A3E-40ED-B912-F0554D6374B3}" srcOrd="0" destOrd="0" presId="urn:microsoft.com/office/officeart/2009/3/layout/HorizontalOrganizationChart"/>
    <dgm:cxn modelId="{6656ABB3-577F-4F41-BA6C-1643069783A4}" type="presParOf" srcId="{85C7789A-1A3E-40ED-B912-F0554D6374B3}" destId="{953C6BB5-A6FF-4C5A-B56D-562A07A09D41}" srcOrd="0" destOrd="0" presId="urn:microsoft.com/office/officeart/2009/3/layout/HorizontalOrganizationChart"/>
    <dgm:cxn modelId="{8FA05AE5-06B7-4422-AD81-5C5E5EFE1BAE}" type="presParOf" srcId="{85C7789A-1A3E-40ED-B912-F0554D6374B3}" destId="{EA6F0907-5AC3-4102-B812-CBC860279110}" srcOrd="1" destOrd="0" presId="urn:microsoft.com/office/officeart/2009/3/layout/HorizontalOrganizationChart"/>
    <dgm:cxn modelId="{67A08AAA-E327-480D-BAA7-A86EAA657DBE}" type="presParOf" srcId="{CE6398D3-DB0C-4738-8EFE-3F8315289E20}" destId="{A2A37047-8943-4475-AB7D-93B6797D7DD5}" srcOrd="1" destOrd="0" presId="urn:microsoft.com/office/officeart/2009/3/layout/HorizontalOrganizationChart"/>
    <dgm:cxn modelId="{FAAAAA59-3D2C-47B8-981A-9CA9ED260031}" type="presParOf" srcId="{CE6398D3-DB0C-4738-8EFE-3F8315289E20}" destId="{4FA79866-2B35-4EE9-9202-57264E5344BA}" srcOrd="2" destOrd="0" presId="urn:microsoft.com/office/officeart/2009/3/layout/HorizontalOrganizationChart"/>
    <dgm:cxn modelId="{874CF2F0-B309-402F-AA03-3BFB94208202}" type="presParOf" srcId="{2146C7A2-C974-4FD3-80FF-9D2A94655D92}" destId="{05B2015D-C638-4E72-865C-A7A46DB15814}" srcOrd="2" destOrd="0" presId="urn:microsoft.com/office/officeart/2009/3/layout/HorizontalOrganizationChart"/>
    <dgm:cxn modelId="{2F3C0AB0-30A9-41F5-97B8-28EF98AD5CE4}" type="presParOf" srcId="{F1658E1F-8F2F-49A7-A282-0CA078C56466}" destId="{5385F8BD-7CF7-4218-A5CA-B82B28401A15}" srcOrd="2" destOrd="0" presId="urn:microsoft.com/office/officeart/2009/3/layout/HorizontalOrganizationChart"/>
    <dgm:cxn modelId="{DCBBE1E9-C446-4FC9-83F0-FEBBE514982B}" type="presParOf" srcId="{5385F8BD-7CF7-4218-A5CA-B82B28401A15}" destId="{62DEEDF7-A4DC-492C-A27B-63D72B2CFC46}" srcOrd="0" destOrd="0" presId="urn:microsoft.com/office/officeart/2009/3/layout/HorizontalOrganizationChart"/>
    <dgm:cxn modelId="{7BE6CE4C-3E90-4FD8-9ACC-A7BC79F2524A}" type="presParOf" srcId="{62DEEDF7-A4DC-492C-A27B-63D72B2CFC46}" destId="{B3E399A4-0759-4F12-8E46-1029FA6B38A8}" srcOrd="0" destOrd="0" presId="urn:microsoft.com/office/officeart/2009/3/layout/HorizontalOrganizationChart"/>
    <dgm:cxn modelId="{30CB9329-A31D-48C3-9DC5-8ECCFA04288C}" type="presParOf" srcId="{62DEEDF7-A4DC-492C-A27B-63D72B2CFC46}" destId="{5C2BCC94-D5E4-4896-BABC-EFB3E809E5BB}" srcOrd="1" destOrd="0" presId="urn:microsoft.com/office/officeart/2009/3/layout/HorizontalOrganizationChart"/>
    <dgm:cxn modelId="{6F67C51F-DCCC-45A9-9F2C-0D5A66A94D76}" type="presParOf" srcId="{5385F8BD-7CF7-4218-A5CA-B82B28401A15}" destId="{C43CF919-3A73-4766-A913-EADFB7ED7ABE}" srcOrd="1" destOrd="0" presId="urn:microsoft.com/office/officeart/2009/3/layout/HorizontalOrganizationChart"/>
    <dgm:cxn modelId="{EB6EF00D-68FA-4D2B-8CEC-9D75EB369952}" type="presParOf" srcId="{5385F8BD-7CF7-4218-A5CA-B82B28401A15}" destId="{E32A483E-F0CF-43CE-BFFD-1859E03CD70C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49F6202-DE6C-4426-995E-74062DDB629C}" type="doc">
      <dgm:prSet loTypeId="urn:microsoft.com/office/officeart/2005/8/layout/arrow5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8CE1233-58B8-4A53-969D-7996B72B9130}">
      <dgm:prSet/>
      <dgm:spPr/>
      <dgm:t>
        <a:bodyPr/>
        <a:lstStyle/>
        <a:p>
          <a:r>
            <a:rPr lang="en-US" b="0" i="0" baseline="0"/>
            <a:t>It is not a crime to be in the United States without proper documentation:  </a:t>
          </a:r>
          <a:endParaRPr lang="en-US"/>
        </a:p>
      </dgm:t>
    </dgm:pt>
    <dgm:pt modelId="{4533AFE9-0985-4421-9C09-07EB6134D06D}" type="parTrans" cxnId="{81A8421B-5E3B-489E-9C97-36EEF344FE9F}">
      <dgm:prSet/>
      <dgm:spPr/>
      <dgm:t>
        <a:bodyPr/>
        <a:lstStyle/>
        <a:p>
          <a:endParaRPr lang="en-US"/>
        </a:p>
      </dgm:t>
    </dgm:pt>
    <dgm:pt modelId="{AA3AA2E6-413A-44C8-AE09-256A00093775}" type="sibTrans" cxnId="{81A8421B-5E3B-489E-9C97-36EEF344FE9F}">
      <dgm:prSet/>
      <dgm:spPr/>
      <dgm:t>
        <a:bodyPr/>
        <a:lstStyle/>
        <a:p>
          <a:endParaRPr lang="en-US"/>
        </a:p>
      </dgm:t>
    </dgm:pt>
    <dgm:pt modelId="{8213FF9B-F8B7-4326-9BBB-0959117C7FB4}">
      <dgm:prSet/>
      <dgm:spPr/>
      <dgm:t>
        <a:bodyPr/>
        <a:lstStyle/>
        <a:p>
          <a:r>
            <a:rPr lang="en-US" b="0" i="0" baseline="0"/>
            <a:t>The United States Supreme Court has explained that, “[a]s a general rule, it is not a crime for a removable alien</a:t>
          </a:r>
          <a:r>
            <a:rPr lang="en-US"/>
            <a:t> </a:t>
          </a:r>
          <a:r>
            <a:rPr lang="en-US" b="0" i="0" baseline="0"/>
            <a:t>to remain </a:t>
          </a:r>
          <a:r>
            <a:rPr lang="en-US" b="0" i="0" strike="noStrike" baseline="0">
              <a:solidFill>
                <a:schemeClr val="bg1"/>
              </a:solidFill>
              <a:latin typeface="Arial"/>
            </a:rPr>
            <a:t>[</a:t>
          </a:r>
          <a:r>
            <a:rPr lang="en-US" b="0" i="0" strike="noStrike" baseline="0">
              <a:solidFill>
                <a:schemeClr val="bg1"/>
              </a:solidFill>
            </a:rPr>
            <a:t>present</a:t>
          </a:r>
          <a:r>
            <a:rPr lang="en-US" b="0" i="0" baseline="0">
              <a:latin typeface="Arial"/>
            </a:rPr>
            <a:t>]</a:t>
          </a:r>
          <a:r>
            <a:rPr lang="en-US" b="0" i="0" baseline="0"/>
            <a:t> in the United States,” </a:t>
          </a:r>
          <a:r>
            <a:rPr lang="en-US" b="0" i="0" u="sng" baseline="0"/>
            <a:t>Arizona</a:t>
          </a:r>
          <a:r>
            <a:rPr lang="en-US" b="0" i="0" baseline="0"/>
            <a:t> v. </a:t>
          </a:r>
          <a:r>
            <a:rPr lang="en-US" b="0" i="0" u="sng" baseline="0"/>
            <a:t>United States</a:t>
          </a:r>
          <a:r>
            <a:rPr lang="en-US" b="0" i="0" baseline="0"/>
            <a:t>, 567 U.S. 387 (2012) </a:t>
          </a:r>
          <a:r>
            <a:rPr lang="en-US"/>
            <a:t> </a:t>
          </a:r>
        </a:p>
      </dgm:t>
    </dgm:pt>
    <dgm:pt modelId="{F3E592A9-B740-4A9A-809A-EA608CDA3C2E}" type="parTrans" cxnId="{F6CDFDE5-7F72-417A-979D-CA6C8CFD34E6}">
      <dgm:prSet/>
      <dgm:spPr/>
      <dgm:t>
        <a:bodyPr/>
        <a:lstStyle/>
        <a:p>
          <a:endParaRPr lang="en-US"/>
        </a:p>
      </dgm:t>
    </dgm:pt>
    <dgm:pt modelId="{5908B7FA-01CF-464A-8AC0-D019DEE53C8C}" type="sibTrans" cxnId="{F6CDFDE5-7F72-417A-979D-CA6C8CFD34E6}">
      <dgm:prSet/>
      <dgm:spPr/>
      <dgm:t>
        <a:bodyPr/>
        <a:lstStyle/>
        <a:p>
          <a:endParaRPr lang="en-US"/>
        </a:p>
      </dgm:t>
    </dgm:pt>
    <dgm:pt modelId="{20D97F49-8B52-4EAE-9591-C3191FEF0FE0}" type="pres">
      <dgm:prSet presAssocID="{A49F6202-DE6C-4426-995E-74062DDB629C}" presName="diagram" presStyleCnt="0">
        <dgm:presLayoutVars>
          <dgm:dir/>
          <dgm:resizeHandles val="exact"/>
        </dgm:presLayoutVars>
      </dgm:prSet>
      <dgm:spPr/>
    </dgm:pt>
    <dgm:pt modelId="{EE519C8E-2B5A-431D-A02E-C8B509DDB7BB}" type="pres">
      <dgm:prSet presAssocID="{28CE1233-58B8-4A53-969D-7996B72B9130}" presName="arrow" presStyleLbl="node1" presStyleIdx="0" presStyleCnt="2">
        <dgm:presLayoutVars>
          <dgm:bulletEnabled val="1"/>
        </dgm:presLayoutVars>
      </dgm:prSet>
      <dgm:spPr/>
    </dgm:pt>
    <dgm:pt modelId="{2799BE71-FB1A-40DA-8809-171893EAC0EE}" type="pres">
      <dgm:prSet presAssocID="{8213FF9B-F8B7-4326-9BBB-0959117C7FB4}" presName="arrow" presStyleLbl="node1" presStyleIdx="1" presStyleCnt="2">
        <dgm:presLayoutVars>
          <dgm:bulletEnabled val="1"/>
        </dgm:presLayoutVars>
      </dgm:prSet>
      <dgm:spPr/>
    </dgm:pt>
  </dgm:ptLst>
  <dgm:cxnLst>
    <dgm:cxn modelId="{81A8421B-5E3B-489E-9C97-36EEF344FE9F}" srcId="{A49F6202-DE6C-4426-995E-74062DDB629C}" destId="{28CE1233-58B8-4A53-969D-7996B72B9130}" srcOrd="0" destOrd="0" parTransId="{4533AFE9-0985-4421-9C09-07EB6134D06D}" sibTransId="{AA3AA2E6-413A-44C8-AE09-256A00093775}"/>
    <dgm:cxn modelId="{F03ECD5D-6479-42AE-BFD1-9D10CE08FA2B}" type="presOf" srcId="{8213FF9B-F8B7-4326-9BBB-0959117C7FB4}" destId="{2799BE71-FB1A-40DA-8809-171893EAC0EE}" srcOrd="0" destOrd="0" presId="urn:microsoft.com/office/officeart/2005/8/layout/arrow5"/>
    <dgm:cxn modelId="{0DBDE954-083D-40DB-A009-FDD02BB75EC2}" type="presOf" srcId="{28CE1233-58B8-4A53-969D-7996B72B9130}" destId="{EE519C8E-2B5A-431D-A02E-C8B509DDB7BB}" srcOrd="0" destOrd="0" presId="urn:microsoft.com/office/officeart/2005/8/layout/arrow5"/>
    <dgm:cxn modelId="{A0A5519F-5E02-463E-A171-93DDDE5D686C}" type="presOf" srcId="{A49F6202-DE6C-4426-995E-74062DDB629C}" destId="{20D97F49-8B52-4EAE-9591-C3191FEF0FE0}" srcOrd="0" destOrd="0" presId="urn:microsoft.com/office/officeart/2005/8/layout/arrow5"/>
    <dgm:cxn modelId="{F6CDFDE5-7F72-417A-979D-CA6C8CFD34E6}" srcId="{A49F6202-DE6C-4426-995E-74062DDB629C}" destId="{8213FF9B-F8B7-4326-9BBB-0959117C7FB4}" srcOrd="1" destOrd="0" parTransId="{F3E592A9-B740-4A9A-809A-EA608CDA3C2E}" sibTransId="{5908B7FA-01CF-464A-8AC0-D019DEE53C8C}"/>
    <dgm:cxn modelId="{4074DEC4-69D4-48EA-8AFD-7A090E44536D}" type="presParOf" srcId="{20D97F49-8B52-4EAE-9591-C3191FEF0FE0}" destId="{EE519C8E-2B5A-431D-A02E-C8B509DDB7BB}" srcOrd="0" destOrd="0" presId="urn:microsoft.com/office/officeart/2005/8/layout/arrow5"/>
    <dgm:cxn modelId="{801B802F-3124-4D10-998A-52EF1158A8C0}" type="presParOf" srcId="{20D97F49-8B52-4EAE-9591-C3191FEF0FE0}" destId="{2799BE71-FB1A-40DA-8809-171893EAC0EE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0A362DA-FD7F-4260-AC7B-515DF067C219}" type="doc">
      <dgm:prSet loTypeId="urn:microsoft.com/office/officeart/2005/8/layout/hierarchy1" loCatId="hierarchy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BBDC8D4-4093-460F-8D70-F445B223EC79}">
      <dgm:prSet/>
      <dgm:spPr/>
      <dgm:t>
        <a:bodyPr/>
        <a:lstStyle/>
        <a:p>
          <a:pPr>
            <a:defRPr b="1"/>
          </a:pPr>
          <a:r>
            <a:rPr lang="en-US"/>
            <a:t>Generally, law enforcement (including ICE) cannot conduct a search &amp; seizure without a warrant signed by a Judge based on probable cause subject to limited legal exceptions.</a:t>
          </a:r>
        </a:p>
      </dgm:t>
    </dgm:pt>
    <dgm:pt modelId="{CE16C3E2-898A-4261-9F51-D824A4DCE973}" type="parTrans" cxnId="{16F3FCD4-E176-4093-AC2F-1656601AA355}">
      <dgm:prSet/>
      <dgm:spPr/>
      <dgm:t>
        <a:bodyPr/>
        <a:lstStyle/>
        <a:p>
          <a:endParaRPr lang="en-US"/>
        </a:p>
      </dgm:t>
    </dgm:pt>
    <dgm:pt modelId="{A8F625EF-E26D-4DFF-A063-787246907674}" type="sibTrans" cxnId="{16F3FCD4-E176-4093-AC2F-1656601AA355}">
      <dgm:prSet/>
      <dgm:spPr/>
      <dgm:t>
        <a:bodyPr/>
        <a:lstStyle/>
        <a:p>
          <a:endParaRPr lang="en-US"/>
        </a:p>
      </dgm:t>
    </dgm:pt>
    <dgm:pt modelId="{FDB4022F-3A85-4B5B-9397-A45FA0B6AFC1}">
      <dgm:prSet/>
      <dgm:spPr/>
      <dgm:t>
        <a:bodyPr/>
        <a:lstStyle/>
        <a:p>
          <a:pPr>
            <a:defRPr b="1"/>
          </a:pPr>
          <a:r>
            <a:rPr lang="en-US" b="1"/>
            <a:t>Basis:</a:t>
          </a:r>
          <a:endParaRPr lang="en-US"/>
        </a:p>
      </dgm:t>
    </dgm:pt>
    <dgm:pt modelId="{E416BB60-7DA6-4B53-95E6-14F943DE0360}" type="parTrans" cxnId="{2085C815-B06D-4902-AB21-591C4182DAF5}">
      <dgm:prSet/>
      <dgm:spPr/>
      <dgm:t>
        <a:bodyPr/>
        <a:lstStyle/>
        <a:p>
          <a:endParaRPr lang="en-US"/>
        </a:p>
      </dgm:t>
    </dgm:pt>
    <dgm:pt modelId="{EDFD833D-C927-4D0B-94DF-A39411E3ED78}" type="sibTrans" cxnId="{2085C815-B06D-4902-AB21-591C4182DAF5}">
      <dgm:prSet/>
      <dgm:spPr/>
      <dgm:t>
        <a:bodyPr/>
        <a:lstStyle/>
        <a:p>
          <a:endParaRPr lang="en-US"/>
        </a:p>
      </dgm:t>
    </dgm:pt>
    <dgm:pt modelId="{68FDC192-9265-4D2D-857C-08FB6902B57B}">
      <dgm:prSet/>
      <dgm:spPr/>
      <dgm:t>
        <a:bodyPr/>
        <a:lstStyle/>
        <a:p>
          <a:r>
            <a:rPr lang="en-US" b="1"/>
            <a:t>U.S. Constitution, 4</a:t>
          </a:r>
          <a:r>
            <a:rPr lang="en-US" b="1" baseline="30000"/>
            <a:t>th</a:t>
          </a:r>
          <a:r>
            <a:rPr lang="en-US" b="1"/>
            <a:t> Amendment</a:t>
          </a:r>
        </a:p>
      </dgm:t>
    </dgm:pt>
    <dgm:pt modelId="{9F54B51D-964C-49DE-9B98-359CA49E9E74}" type="parTrans" cxnId="{F45520DB-CB8F-4FFE-B950-E35F890E1513}">
      <dgm:prSet/>
      <dgm:spPr/>
      <dgm:t>
        <a:bodyPr/>
        <a:lstStyle/>
        <a:p>
          <a:endParaRPr lang="en-US"/>
        </a:p>
      </dgm:t>
    </dgm:pt>
    <dgm:pt modelId="{15451118-5E1C-49D0-857B-14DD52188E9F}" type="sibTrans" cxnId="{F45520DB-CB8F-4FFE-B950-E35F890E1513}">
      <dgm:prSet/>
      <dgm:spPr/>
      <dgm:t>
        <a:bodyPr/>
        <a:lstStyle/>
        <a:p>
          <a:endParaRPr lang="en-US"/>
        </a:p>
      </dgm:t>
    </dgm:pt>
    <dgm:pt modelId="{3570E7C3-894D-4190-8405-D056DA7777FC}">
      <dgm:prSet/>
      <dgm:spPr/>
      <dgm:t>
        <a:bodyPr/>
        <a:lstStyle/>
        <a:p>
          <a:r>
            <a:rPr lang="en-US" b="1"/>
            <a:t>Massachusetts Declaration of Rights, Article 14. </a:t>
          </a:r>
        </a:p>
      </dgm:t>
    </dgm:pt>
    <dgm:pt modelId="{56530DA0-DABD-49F7-BD88-2964EFD3A39B}" type="parTrans" cxnId="{E533BFAD-6DEE-4E27-BDD9-FFB287020E58}">
      <dgm:prSet/>
      <dgm:spPr/>
      <dgm:t>
        <a:bodyPr/>
        <a:lstStyle/>
        <a:p>
          <a:endParaRPr lang="en-US"/>
        </a:p>
      </dgm:t>
    </dgm:pt>
    <dgm:pt modelId="{9699AA2F-E995-49C0-9BF6-FB99140C7F06}" type="sibTrans" cxnId="{E533BFAD-6DEE-4E27-BDD9-FFB287020E58}">
      <dgm:prSet/>
      <dgm:spPr/>
      <dgm:t>
        <a:bodyPr/>
        <a:lstStyle/>
        <a:p>
          <a:endParaRPr lang="en-US"/>
        </a:p>
      </dgm:t>
    </dgm:pt>
    <dgm:pt modelId="{2B37AF4D-2E12-4452-AD81-453909C7F1E2}">
      <dgm:prSet/>
      <dgm:spPr/>
      <dgm:t>
        <a:bodyPr/>
        <a:lstStyle/>
        <a:p>
          <a:r>
            <a:rPr lang="en-US" b="1"/>
            <a:t>M.G.L. c. 276, Sec. 1</a:t>
          </a:r>
        </a:p>
      </dgm:t>
    </dgm:pt>
    <dgm:pt modelId="{C4C8E41B-E2A6-4F70-93D1-5E88D886935B}" type="parTrans" cxnId="{89C01D98-6D1D-4524-B09B-291020C765EE}">
      <dgm:prSet/>
      <dgm:spPr/>
      <dgm:t>
        <a:bodyPr/>
        <a:lstStyle/>
        <a:p>
          <a:endParaRPr lang="en-US"/>
        </a:p>
      </dgm:t>
    </dgm:pt>
    <dgm:pt modelId="{3F0259BD-CE50-4929-A9A8-EFFE19B74177}" type="sibTrans" cxnId="{89C01D98-6D1D-4524-B09B-291020C765EE}">
      <dgm:prSet/>
      <dgm:spPr/>
      <dgm:t>
        <a:bodyPr/>
        <a:lstStyle/>
        <a:p>
          <a:endParaRPr lang="en-US"/>
        </a:p>
      </dgm:t>
    </dgm:pt>
    <dgm:pt modelId="{E353781F-7408-4A23-BBB1-7F3C7EF6C879}">
      <dgm:prSet/>
      <dgm:spPr/>
      <dgm:t>
        <a:bodyPr/>
        <a:lstStyle/>
        <a:p>
          <a:pPr algn="l"/>
          <a:r>
            <a:rPr lang="en-US" b="1" i="1"/>
            <a:t>Lunn v. Commonwealth</a:t>
          </a:r>
          <a:r>
            <a:rPr lang="en-US" b="1"/>
            <a:t>,</a:t>
          </a:r>
        </a:p>
        <a:p>
          <a:pPr algn="l"/>
          <a:r>
            <a:rPr lang="en-US" b="1" i="0"/>
            <a:t>477 Mass. 517 (2017)</a:t>
          </a:r>
          <a:r>
            <a:rPr lang="en-US" b="1"/>
            <a:t> </a:t>
          </a:r>
        </a:p>
        <a:p>
          <a:pPr algn="l"/>
          <a:r>
            <a:rPr lang="en-US" b="1"/>
            <a:t> </a:t>
          </a:r>
        </a:p>
      </dgm:t>
    </dgm:pt>
    <dgm:pt modelId="{AEF68E2A-92E0-4EDD-9312-6E4721B83A6E}" type="parTrans" cxnId="{6D3A5D1B-CC5B-47F3-AAEC-2263B83AD8F2}">
      <dgm:prSet/>
      <dgm:spPr/>
      <dgm:t>
        <a:bodyPr/>
        <a:lstStyle/>
        <a:p>
          <a:endParaRPr lang="en-US"/>
        </a:p>
      </dgm:t>
    </dgm:pt>
    <dgm:pt modelId="{7C0DF9A2-99EE-40D1-9319-00CE682FF648}" type="sibTrans" cxnId="{6D3A5D1B-CC5B-47F3-AAEC-2263B83AD8F2}">
      <dgm:prSet/>
      <dgm:spPr/>
      <dgm:t>
        <a:bodyPr/>
        <a:lstStyle/>
        <a:p>
          <a:endParaRPr lang="en-US"/>
        </a:p>
      </dgm:t>
    </dgm:pt>
    <dgm:pt modelId="{EB2E31C7-F208-4D9F-9B54-8F35F1756E88}" type="pres">
      <dgm:prSet presAssocID="{80A362DA-FD7F-4260-AC7B-515DF067C219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C8A3A37-7A64-4986-9654-CA9C1C969E35}" type="pres">
      <dgm:prSet presAssocID="{2BBDC8D4-4093-460F-8D70-F445B223EC79}" presName="hierRoot1" presStyleCnt="0"/>
      <dgm:spPr/>
    </dgm:pt>
    <dgm:pt modelId="{B0258DFA-3623-4D1C-9193-2C9A512EED1F}" type="pres">
      <dgm:prSet presAssocID="{2BBDC8D4-4093-460F-8D70-F445B223EC79}" presName="composite" presStyleCnt="0"/>
      <dgm:spPr/>
    </dgm:pt>
    <dgm:pt modelId="{F909484F-110C-4DAD-8459-FF858CEDFAAF}" type="pres">
      <dgm:prSet presAssocID="{2BBDC8D4-4093-460F-8D70-F445B223EC79}" presName="background" presStyleLbl="node0" presStyleIdx="0" presStyleCnt="2"/>
      <dgm:spPr/>
    </dgm:pt>
    <dgm:pt modelId="{8D22132C-7750-4561-952A-6FB5F348CE04}" type="pres">
      <dgm:prSet presAssocID="{2BBDC8D4-4093-460F-8D70-F445B223EC79}" presName="text" presStyleLbl="fgAcc0" presStyleIdx="0" presStyleCnt="2">
        <dgm:presLayoutVars>
          <dgm:chPref val="3"/>
        </dgm:presLayoutVars>
      </dgm:prSet>
      <dgm:spPr/>
    </dgm:pt>
    <dgm:pt modelId="{FC6859E8-ED38-4C63-8352-30A0887D4035}" type="pres">
      <dgm:prSet presAssocID="{2BBDC8D4-4093-460F-8D70-F445B223EC79}" presName="hierChild2" presStyleCnt="0"/>
      <dgm:spPr/>
    </dgm:pt>
    <dgm:pt modelId="{0A276617-F495-4C14-9695-57495CCDE79A}" type="pres">
      <dgm:prSet presAssocID="{FDB4022F-3A85-4B5B-9397-A45FA0B6AFC1}" presName="hierRoot1" presStyleCnt="0"/>
      <dgm:spPr/>
    </dgm:pt>
    <dgm:pt modelId="{0720D645-81A3-4E3B-A903-5D57CA0BD49C}" type="pres">
      <dgm:prSet presAssocID="{FDB4022F-3A85-4B5B-9397-A45FA0B6AFC1}" presName="composite" presStyleCnt="0"/>
      <dgm:spPr/>
    </dgm:pt>
    <dgm:pt modelId="{7A96AD55-6363-401C-85D7-347585477A40}" type="pres">
      <dgm:prSet presAssocID="{FDB4022F-3A85-4B5B-9397-A45FA0B6AFC1}" presName="background" presStyleLbl="node0" presStyleIdx="1" presStyleCnt="2"/>
      <dgm:spPr/>
    </dgm:pt>
    <dgm:pt modelId="{12E64A39-2628-4E9B-AAF3-F94CDA2BB8DD}" type="pres">
      <dgm:prSet presAssocID="{FDB4022F-3A85-4B5B-9397-A45FA0B6AFC1}" presName="text" presStyleLbl="fgAcc0" presStyleIdx="1" presStyleCnt="2">
        <dgm:presLayoutVars>
          <dgm:chPref val="3"/>
        </dgm:presLayoutVars>
      </dgm:prSet>
      <dgm:spPr/>
    </dgm:pt>
    <dgm:pt modelId="{0EE56518-FF26-4E07-9448-2ECB2E2C166C}" type="pres">
      <dgm:prSet presAssocID="{FDB4022F-3A85-4B5B-9397-A45FA0B6AFC1}" presName="hierChild2" presStyleCnt="0"/>
      <dgm:spPr/>
    </dgm:pt>
    <dgm:pt modelId="{F89F53CB-701F-4CE0-9C1F-325919DC8CC5}" type="pres">
      <dgm:prSet presAssocID="{9F54B51D-964C-49DE-9B98-359CA49E9E74}" presName="Name10" presStyleLbl="parChTrans1D2" presStyleIdx="0" presStyleCnt="4"/>
      <dgm:spPr/>
    </dgm:pt>
    <dgm:pt modelId="{81DAE4E3-5D79-4E39-9F76-6B46FB47FA27}" type="pres">
      <dgm:prSet presAssocID="{68FDC192-9265-4D2D-857C-08FB6902B57B}" presName="hierRoot2" presStyleCnt="0"/>
      <dgm:spPr/>
    </dgm:pt>
    <dgm:pt modelId="{23010933-58FE-4F6E-8135-F1E3E0ACA10A}" type="pres">
      <dgm:prSet presAssocID="{68FDC192-9265-4D2D-857C-08FB6902B57B}" presName="composite2" presStyleCnt="0"/>
      <dgm:spPr/>
    </dgm:pt>
    <dgm:pt modelId="{1E57AB63-55E7-4B25-A411-DF93A272AA01}" type="pres">
      <dgm:prSet presAssocID="{68FDC192-9265-4D2D-857C-08FB6902B57B}" presName="background2" presStyleLbl="node2" presStyleIdx="0" presStyleCnt="4"/>
      <dgm:spPr/>
    </dgm:pt>
    <dgm:pt modelId="{5517A2AC-5FFF-49B0-BFF9-80679D00B498}" type="pres">
      <dgm:prSet presAssocID="{68FDC192-9265-4D2D-857C-08FB6902B57B}" presName="text2" presStyleLbl="fgAcc2" presStyleIdx="0" presStyleCnt="4">
        <dgm:presLayoutVars>
          <dgm:chPref val="3"/>
        </dgm:presLayoutVars>
      </dgm:prSet>
      <dgm:spPr/>
    </dgm:pt>
    <dgm:pt modelId="{BE49455C-2B65-40A2-819A-F1101487E295}" type="pres">
      <dgm:prSet presAssocID="{68FDC192-9265-4D2D-857C-08FB6902B57B}" presName="hierChild3" presStyleCnt="0"/>
      <dgm:spPr/>
    </dgm:pt>
    <dgm:pt modelId="{28EFF5C2-974A-482D-B315-89178DA032F8}" type="pres">
      <dgm:prSet presAssocID="{56530DA0-DABD-49F7-BD88-2964EFD3A39B}" presName="Name10" presStyleLbl="parChTrans1D2" presStyleIdx="1" presStyleCnt="4"/>
      <dgm:spPr/>
    </dgm:pt>
    <dgm:pt modelId="{A9332835-1714-4DA7-A041-36B15ACBBAEB}" type="pres">
      <dgm:prSet presAssocID="{3570E7C3-894D-4190-8405-D056DA7777FC}" presName="hierRoot2" presStyleCnt="0"/>
      <dgm:spPr/>
    </dgm:pt>
    <dgm:pt modelId="{85C19BE4-2AB7-4222-93C8-970DF5BC4542}" type="pres">
      <dgm:prSet presAssocID="{3570E7C3-894D-4190-8405-D056DA7777FC}" presName="composite2" presStyleCnt="0"/>
      <dgm:spPr/>
    </dgm:pt>
    <dgm:pt modelId="{1F6B4568-1E48-4A9C-8A90-0242596B8B99}" type="pres">
      <dgm:prSet presAssocID="{3570E7C3-894D-4190-8405-D056DA7777FC}" presName="background2" presStyleLbl="node2" presStyleIdx="1" presStyleCnt="4"/>
      <dgm:spPr/>
    </dgm:pt>
    <dgm:pt modelId="{C1152ABC-008C-405D-9054-C3C1745F9799}" type="pres">
      <dgm:prSet presAssocID="{3570E7C3-894D-4190-8405-D056DA7777FC}" presName="text2" presStyleLbl="fgAcc2" presStyleIdx="1" presStyleCnt="4">
        <dgm:presLayoutVars>
          <dgm:chPref val="3"/>
        </dgm:presLayoutVars>
      </dgm:prSet>
      <dgm:spPr/>
    </dgm:pt>
    <dgm:pt modelId="{23E90815-D7BC-4DDE-B357-C97137B4BF22}" type="pres">
      <dgm:prSet presAssocID="{3570E7C3-894D-4190-8405-D056DA7777FC}" presName="hierChild3" presStyleCnt="0"/>
      <dgm:spPr/>
    </dgm:pt>
    <dgm:pt modelId="{C5723D73-C2E7-4FD8-ADBE-DA61FC12C1D6}" type="pres">
      <dgm:prSet presAssocID="{C4C8E41B-E2A6-4F70-93D1-5E88D886935B}" presName="Name10" presStyleLbl="parChTrans1D2" presStyleIdx="2" presStyleCnt="4"/>
      <dgm:spPr/>
    </dgm:pt>
    <dgm:pt modelId="{5ACB7CA3-83BB-4C18-8E07-771E8E0ECA96}" type="pres">
      <dgm:prSet presAssocID="{2B37AF4D-2E12-4452-AD81-453909C7F1E2}" presName="hierRoot2" presStyleCnt="0"/>
      <dgm:spPr/>
    </dgm:pt>
    <dgm:pt modelId="{93B610EB-CE28-4B5B-BF92-5FACDE70B1ED}" type="pres">
      <dgm:prSet presAssocID="{2B37AF4D-2E12-4452-AD81-453909C7F1E2}" presName="composite2" presStyleCnt="0"/>
      <dgm:spPr/>
    </dgm:pt>
    <dgm:pt modelId="{64E590B3-1FD1-475B-BA63-E3C8AD48393A}" type="pres">
      <dgm:prSet presAssocID="{2B37AF4D-2E12-4452-AD81-453909C7F1E2}" presName="background2" presStyleLbl="node2" presStyleIdx="2" presStyleCnt="4"/>
      <dgm:spPr/>
    </dgm:pt>
    <dgm:pt modelId="{F36CE7C7-0EAD-4431-BDD7-04A8F8972D01}" type="pres">
      <dgm:prSet presAssocID="{2B37AF4D-2E12-4452-AD81-453909C7F1E2}" presName="text2" presStyleLbl="fgAcc2" presStyleIdx="2" presStyleCnt="4">
        <dgm:presLayoutVars>
          <dgm:chPref val="3"/>
        </dgm:presLayoutVars>
      </dgm:prSet>
      <dgm:spPr/>
    </dgm:pt>
    <dgm:pt modelId="{F217852F-292B-4C27-83AA-A84BCB0FA604}" type="pres">
      <dgm:prSet presAssocID="{2B37AF4D-2E12-4452-AD81-453909C7F1E2}" presName="hierChild3" presStyleCnt="0"/>
      <dgm:spPr/>
    </dgm:pt>
    <dgm:pt modelId="{BC5442E5-0480-4D67-A9B6-FC1EF81D40E0}" type="pres">
      <dgm:prSet presAssocID="{AEF68E2A-92E0-4EDD-9312-6E4721B83A6E}" presName="Name10" presStyleLbl="parChTrans1D2" presStyleIdx="3" presStyleCnt="4"/>
      <dgm:spPr/>
    </dgm:pt>
    <dgm:pt modelId="{AE4DA251-E11E-40B6-8B27-A32E76B2F7E3}" type="pres">
      <dgm:prSet presAssocID="{E353781F-7408-4A23-BBB1-7F3C7EF6C879}" presName="hierRoot2" presStyleCnt="0"/>
      <dgm:spPr/>
    </dgm:pt>
    <dgm:pt modelId="{E80AA136-F8C5-44B7-84EE-6D42FEAE80D1}" type="pres">
      <dgm:prSet presAssocID="{E353781F-7408-4A23-BBB1-7F3C7EF6C879}" presName="composite2" presStyleCnt="0"/>
      <dgm:spPr/>
    </dgm:pt>
    <dgm:pt modelId="{25BD2D29-8D13-41C5-9DA1-4F65F629CADC}" type="pres">
      <dgm:prSet presAssocID="{E353781F-7408-4A23-BBB1-7F3C7EF6C879}" presName="background2" presStyleLbl="node2" presStyleIdx="3" presStyleCnt="4"/>
      <dgm:spPr/>
    </dgm:pt>
    <dgm:pt modelId="{7C42988F-7A16-4F03-957E-139E31A71645}" type="pres">
      <dgm:prSet presAssocID="{E353781F-7408-4A23-BBB1-7F3C7EF6C879}" presName="text2" presStyleLbl="fgAcc2" presStyleIdx="3" presStyleCnt="4">
        <dgm:presLayoutVars>
          <dgm:chPref val="3"/>
        </dgm:presLayoutVars>
      </dgm:prSet>
      <dgm:spPr/>
    </dgm:pt>
    <dgm:pt modelId="{9CB41BC1-A02F-4A91-81AB-D43179613C11}" type="pres">
      <dgm:prSet presAssocID="{E353781F-7408-4A23-BBB1-7F3C7EF6C879}" presName="hierChild3" presStyleCnt="0"/>
      <dgm:spPr/>
    </dgm:pt>
  </dgm:ptLst>
  <dgm:cxnLst>
    <dgm:cxn modelId="{224A2000-23FB-4BD6-8542-B087F32914EE}" type="presOf" srcId="{2B37AF4D-2E12-4452-AD81-453909C7F1E2}" destId="{F36CE7C7-0EAD-4431-BDD7-04A8F8972D01}" srcOrd="0" destOrd="0" presId="urn:microsoft.com/office/officeart/2005/8/layout/hierarchy1"/>
    <dgm:cxn modelId="{2085C815-B06D-4902-AB21-591C4182DAF5}" srcId="{80A362DA-FD7F-4260-AC7B-515DF067C219}" destId="{FDB4022F-3A85-4B5B-9397-A45FA0B6AFC1}" srcOrd="1" destOrd="0" parTransId="{E416BB60-7DA6-4B53-95E6-14F943DE0360}" sibTransId="{EDFD833D-C927-4D0B-94DF-A39411E3ED78}"/>
    <dgm:cxn modelId="{6D3A5D1B-CC5B-47F3-AAEC-2263B83AD8F2}" srcId="{FDB4022F-3A85-4B5B-9397-A45FA0B6AFC1}" destId="{E353781F-7408-4A23-BBB1-7F3C7EF6C879}" srcOrd="3" destOrd="0" parTransId="{AEF68E2A-92E0-4EDD-9312-6E4721B83A6E}" sibTransId="{7C0DF9A2-99EE-40D1-9319-00CE682FF648}"/>
    <dgm:cxn modelId="{A4FE7D39-C135-4977-B27A-3D727CC4F3E6}" type="presOf" srcId="{3570E7C3-894D-4190-8405-D056DA7777FC}" destId="{C1152ABC-008C-405D-9054-C3C1745F9799}" srcOrd="0" destOrd="0" presId="urn:microsoft.com/office/officeart/2005/8/layout/hierarchy1"/>
    <dgm:cxn modelId="{2A54BB41-0F5A-4B73-8815-B5A8EB696251}" type="presOf" srcId="{68FDC192-9265-4D2D-857C-08FB6902B57B}" destId="{5517A2AC-5FFF-49B0-BFF9-80679D00B498}" srcOrd="0" destOrd="0" presId="urn:microsoft.com/office/officeart/2005/8/layout/hierarchy1"/>
    <dgm:cxn modelId="{5D8CB645-73D2-4F59-8415-979B539C7865}" type="presOf" srcId="{AEF68E2A-92E0-4EDD-9312-6E4721B83A6E}" destId="{BC5442E5-0480-4D67-A9B6-FC1EF81D40E0}" srcOrd="0" destOrd="0" presId="urn:microsoft.com/office/officeart/2005/8/layout/hierarchy1"/>
    <dgm:cxn modelId="{6BFA1486-BC5C-49DA-8517-623410EB02C5}" type="presOf" srcId="{9F54B51D-964C-49DE-9B98-359CA49E9E74}" destId="{F89F53CB-701F-4CE0-9C1F-325919DC8CC5}" srcOrd="0" destOrd="0" presId="urn:microsoft.com/office/officeart/2005/8/layout/hierarchy1"/>
    <dgm:cxn modelId="{43A96892-67A2-46FF-BF45-8A54E6C2C087}" type="presOf" srcId="{FDB4022F-3A85-4B5B-9397-A45FA0B6AFC1}" destId="{12E64A39-2628-4E9B-AAF3-F94CDA2BB8DD}" srcOrd="0" destOrd="0" presId="urn:microsoft.com/office/officeart/2005/8/layout/hierarchy1"/>
    <dgm:cxn modelId="{89C01D98-6D1D-4524-B09B-291020C765EE}" srcId="{FDB4022F-3A85-4B5B-9397-A45FA0B6AFC1}" destId="{2B37AF4D-2E12-4452-AD81-453909C7F1E2}" srcOrd="2" destOrd="0" parTransId="{C4C8E41B-E2A6-4F70-93D1-5E88D886935B}" sibTransId="{3F0259BD-CE50-4929-A9A8-EFFE19B74177}"/>
    <dgm:cxn modelId="{16908CAC-1F69-44C4-AEC4-F97C98685C5D}" type="presOf" srcId="{2BBDC8D4-4093-460F-8D70-F445B223EC79}" destId="{8D22132C-7750-4561-952A-6FB5F348CE04}" srcOrd="0" destOrd="0" presId="urn:microsoft.com/office/officeart/2005/8/layout/hierarchy1"/>
    <dgm:cxn modelId="{E533BFAD-6DEE-4E27-BDD9-FFB287020E58}" srcId="{FDB4022F-3A85-4B5B-9397-A45FA0B6AFC1}" destId="{3570E7C3-894D-4190-8405-D056DA7777FC}" srcOrd="1" destOrd="0" parTransId="{56530DA0-DABD-49F7-BD88-2964EFD3A39B}" sibTransId="{9699AA2F-E995-49C0-9BF6-FB99140C7F06}"/>
    <dgm:cxn modelId="{41A8A6C4-4353-4A36-A284-7FF22F9986C0}" type="presOf" srcId="{E353781F-7408-4A23-BBB1-7F3C7EF6C879}" destId="{7C42988F-7A16-4F03-957E-139E31A71645}" srcOrd="0" destOrd="0" presId="urn:microsoft.com/office/officeart/2005/8/layout/hierarchy1"/>
    <dgm:cxn modelId="{3E96ADC4-C736-4557-B208-56AB5BED923C}" type="presOf" srcId="{C4C8E41B-E2A6-4F70-93D1-5E88D886935B}" destId="{C5723D73-C2E7-4FD8-ADBE-DA61FC12C1D6}" srcOrd="0" destOrd="0" presId="urn:microsoft.com/office/officeart/2005/8/layout/hierarchy1"/>
    <dgm:cxn modelId="{6FF4B2C4-6170-4B17-95C2-933A20C3142F}" type="presOf" srcId="{56530DA0-DABD-49F7-BD88-2964EFD3A39B}" destId="{28EFF5C2-974A-482D-B315-89178DA032F8}" srcOrd="0" destOrd="0" presId="urn:microsoft.com/office/officeart/2005/8/layout/hierarchy1"/>
    <dgm:cxn modelId="{16F3FCD4-E176-4093-AC2F-1656601AA355}" srcId="{80A362DA-FD7F-4260-AC7B-515DF067C219}" destId="{2BBDC8D4-4093-460F-8D70-F445B223EC79}" srcOrd="0" destOrd="0" parTransId="{CE16C3E2-898A-4261-9F51-D824A4DCE973}" sibTransId="{A8F625EF-E26D-4DFF-A063-787246907674}"/>
    <dgm:cxn modelId="{F45520DB-CB8F-4FFE-B950-E35F890E1513}" srcId="{FDB4022F-3A85-4B5B-9397-A45FA0B6AFC1}" destId="{68FDC192-9265-4D2D-857C-08FB6902B57B}" srcOrd="0" destOrd="0" parTransId="{9F54B51D-964C-49DE-9B98-359CA49E9E74}" sibTransId="{15451118-5E1C-49D0-857B-14DD52188E9F}"/>
    <dgm:cxn modelId="{69F3F7E5-0E6A-4D7E-8A6F-ABA8CFB9E6E3}" type="presOf" srcId="{80A362DA-FD7F-4260-AC7B-515DF067C219}" destId="{EB2E31C7-F208-4D9F-9B54-8F35F1756E88}" srcOrd="0" destOrd="0" presId="urn:microsoft.com/office/officeart/2005/8/layout/hierarchy1"/>
    <dgm:cxn modelId="{5CA2292F-E619-40D5-8322-81319D8231F4}" type="presParOf" srcId="{EB2E31C7-F208-4D9F-9B54-8F35F1756E88}" destId="{EC8A3A37-7A64-4986-9654-CA9C1C969E35}" srcOrd="0" destOrd="0" presId="urn:microsoft.com/office/officeart/2005/8/layout/hierarchy1"/>
    <dgm:cxn modelId="{1C819E5D-75D2-48EC-A3CF-B3DD1980B61E}" type="presParOf" srcId="{EC8A3A37-7A64-4986-9654-CA9C1C969E35}" destId="{B0258DFA-3623-4D1C-9193-2C9A512EED1F}" srcOrd="0" destOrd="0" presId="urn:microsoft.com/office/officeart/2005/8/layout/hierarchy1"/>
    <dgm:cxn modelId="{7BB2B4D1-7587-4BE8-AA64-738558CD9E6F}" type="presParOf" srcId="{B0258DFA-3623-4D1C-9193-2C9A512EED1F}" destId="{F909484F-110C-4DAD-8459-FF858CEDFAAF}" srcOrd="0" destOrd="0" presId="urn:microsoft.com/office/officeart/2005/8/layout/hierarchy1"/>
    <dgm:cxn modelId="{A80DC3E3-C190-4261-81EA-ED9F0AF13765}" type="presParOf" srcId="{B0258DFA-3623-4D1C-9193-2C9A512EED1F}" destId="{8D22132C-7750-4561-952A-6FB5F348CE04}" srcOrd="1" destOrd="0" presId="urn:microsoft.com/office/officeart/2005/8/layout/hierarchy1"/>
    <dgm:cxn modelId="{5585A136-BED5-483F-B12A-2034A5FB61AC}" type="presParOf" srcId="{EC8A3A37-7A64-4986-9654-CA9C1C969E35}" destId="{FC6859E8-ED38-4C63-8352-30A0887D4035}" srcOrd="1" destOrd="0" presId="urn:microsoft.com/office/officeart/2005/8/layout/hierarchy1"/>
    <dgm:cxn modelId="{6595EE30-E1CA-44A3-8453-42B31874B6F1}" type="presParOf" srcId="{EB2E31C7-F208-4D9F-9B54-8F35F1756E88}" destId="{0A276617-F495-4C14-9695-57495CCDE79A}" srcOrd="1" destOrd="0" presId="urn:microsoft.com/office/officeart/2005/8/layout/hierarchy1"/>
    <dgm:cxn modelId="{2E0589FA-819E-4124-A70B-6128FCEC2469}" type="presParOf" srcId="{0A276617-F495-4C14-9695-57495CCDE79A}" destId="{0720D645-81A3-4E3B-A903-5D57CA0BD49C}" srcOrd="0" destOrd="0" presId="urn:microsoft.com/office/officeart/2005/8/layout/hierarchy1"/>
    <dgm:cxn modelId="{237D6811-7B87-4519-84D4-C4D00047F47A}" type="presParOf" srcId="{0720D645-81A3-4E3B-A903-5D57CA0BD49C}" destId="{7A96AD55-6363-401C-85D7-347585477A40}" srcOrd="0" destOrd="0" presId="urn:microsoft.com/office/officeart/2005/8/layout/hierarchy1"/>
    <dgm:cxn modelId="{FD1A48F5-8AB4-4785-B755-160BACB806A4}" type="presParOf" srcId="{0720D645-81A3-4E3B-A903-5D57CA0BD49C}" destId="{12E64A39-2628-4E9B-AAF3-F94CDA2BB8DD}" srcOrd="1" destOrd="0" presId="urn:microsoft.com/office/officeart/2005/8/layout/hierarchy1"/>
    <dgm:cxn modelId="{39A784E9-9FB8-4255-867F-2BCA5CA417EC}" type="presParOf" srcId="{0A276617-F495-4C14-9695-57495CCDE79A}" destId="{0EE56518-FF26-4E07-9448-2ECB2E2C166C}" srcOrd="1" destOrd="0" presId="urn:microsoft.com/office/officeart/2005/8/layout/hierarchy1"/>
    <dgm:cxn modelId="{91519CA0-00B3-4882-AC5B-6A5EF3DA8B5A}" type="presParOf" srcId="{0EE56518-FF26-4E07-9448-2ECB2E2C166C}" destId="{F89F53CB-701F-4CE0-9C1F-325919DC8CC5}" srcOrd="0" destOrd="0" presId="urn:microsoft.com/office/officeart/2005/8/layout/hierarchy1"/>
    <dgm:cxn modelId="{4BAEC833-F7FF-4987-873C-491538619745}" type="presParOf" srcId="{0EE56518-FF26-4E07-9448-2ECB2E2C166C}" destId="{81DAE4E3-5D79-4E39-9F76-6B46FB47FA27}" srcOrd="1" destOrd="0" presId="urn:microsoft.com/office/officeart/2005/8/layout/hierarchy1"/>
    <dgm:cxn modelId="{14A7203E-76EE-43DD-8064-7CBCD47DBC65}" type="presParOf" srcId="{81DAE4E3-5D79-4E39-9F76-6B46FB47FA27}" destId="{23010933-58FE-4F6E-8135-F1E3E0ACA10A}" srcOrd="0" destOrd="0" presId="urn:microsoft.com/office/officeart/2005/8/layout/hierarchy1"/>
    <dgm:cxn modelId="{B8407CAD-18C4-472F-A470-C39018D9C8B0}" type="presParOf" srcId="{23010933-58FE-4F6E-8135-F1E3E0ACA10A}" destId="{1E57AB63-55E7-4B25-A411-DF93A272AA01}" srcOrd="0" destOrd="0" presId="urn:microsoft.com/office/officeart/2005/8/layout/hierarchy1"/>
    <dgm:cxn modelId="{D3CB6B42-0B18-45D3-8DF7-43B112F3CA6A}" type="presParOf" srcId="{23010933-58FE-4F6E-8135-F1E3E0ACA10A}" destId="{5517A2AC-5FFF-49B0-BFF9-80679D00B498}" srcOrd="1" destOrd="0" presId="urn:microsoft.com/office/officeart/2005/8/layout/hierarchy1"/>
    <dgm:cxn modelId="{3D15B474-A506-4E06-A564-0BA838E6D81F}" type="presParOf" srcId="{81DAE4E3-5D79-4E39-9F76-6B46FB47FA27}" destId="{BE49455C-2B65-40A2-819A-F1101487E295}" srcOrd="1" destOrd="0" presId="urn:microsoft.com/office/officeart/2005/8/layout/hierarchy1"/>
    <dgm:cxn modelId="{FCE2BCAB-890F-4B44-AA6D-D3F2016CEE0C}" type="presParOf" srcId="{0EE56518-FF26-4E07-9448-2ECB2E2C166C}" destId="{28EFF5C2-974A-482D-B315-89178DA032F8}" srcOrd="2" destOrd="0" presId="urn:microsoft.com/office/officeart/2005/8/layout/hierarchy1"/>
    <dgm:cxn modelId="{B7575933-2217-45E7-A5B0-04F6390A3609}" type="presParOf" srcId="{0EE56518-FF26-4E07-9448-2ECB2E2C166C}" destId="{A9332835-1714-4DA7-A041-36B15ACBBAEB}" srcOrd="3" destOrd="0" presId="urn:microsoft.com/office/officeart/2005/8/layout/hierarchy1"/>
    <dgm:cxn modelId="{FFAFD97A-B104-4BB9-8E91-C1C9153AD88A}" type="presParOf" srcId="{A9332835-1714-4DA7-A041-36B15ACBBAEB}" destId="{85C19BE4-2AB7-4222-93C8-970DF5BC4542}" srcOrd="0" destOrd="0" presId="urn:microsoft.com/office/officeart/2005/8/layout/hierarchy1"/>
    <dgm:cxn modelId="{29AEB6D6-E843-49F6-9B6C-F747CCF743DF}" type="presParOf" srcId="{85C19BE4-2AB7-4222-93C8-970DF5BC4542}" destId="{1F6B4568-1E48-4A9C-8A90-0242596B8B99}" srcOrd="0" destOrd="0" presId="urn:microsoft.com/office/officeart/2005/8/layout/hierarchy1"/>
    <dgm:cxn modelId="{D15DA274-6B9F-4272-BAC3-F82237124C12}" type="presParOf" srcId="{85C19BE4-2AB7-4222-93C8-970DF5BC4542}" destId="{C1152ABC-008C-405D-9054-C3C1745F9799}" srcOrd="1" destOrd="0" presId="urn:microsoft.com/office/officeart/2005/8/layout/hierarchy1"/>
    <dgm:cxn modelId="{A16B8E25-FB03-47A0-BF18-AB3C137571FF}" type="presParOf" srcId="{A9332835-1714-4DA7-A041-36B15ACBBAEB}" destId="{23E90815-D7BC-4DDE-B357-C97137B4BF22}" srcOrd="1" destOrd="0" presId="urn:microsoft.com/office/officeart/2005/8/layout/hierarchy1"/>
    <dgm:cxn modelId="{521AD3FC-3FEB-45AF-89A3-F84C99695DCC}" type="presParOf" srcId="{0EE56518-FF26-4E07-9448-2ECB2E2C166C}" destId="{C5723D73-C2E7-4FD8-ADBE-DA61FC12C1D6}" srcOrd="4" destOrd="0" presId="urn:microsoft.com/office/officeart/2005/8/layout/hierarchy1"/>
    <dgm:cxn modelId="{BD84F084-BB1C-4E4B-B70F-9058B1978728}" type="presParOf" srcId="{0EE56518-FF26-4E07-9448-2ECB2E2C166C}" destId="{5ACB7CA3-83BB-4C18-8E07-771E8E0ECA96}" srcOrd="5" destOrd="0" presId="urn:microsoft.com/office/officeart/2005/8/layout/hierarchy1"/>
    <dgm:cxn modelId="{F53380E0-C0F2-4791-9C09-80D3B07B7A32}" type="presParOf" srcId="{5ACB7CA3-83BB-4C18-8E07-771E8E0ECA96}" destId="{93B610EB-CE28-4B5B-BF92-5FACDE70B1ED}" srcOrd="0" destOrd="0" presId="urn:microsoft.com/office/officeart/2005/8/layout/hierarchy1"/>
    <dgm:cxn modelId="{4B4AD1C6-DF8E-49DB-8004-6B17DEBD4D6A}" type="presParOf" srcId="{93B610EB-CE28-4B5B-BF92-5FACDE70B1ED}" destId="{64E590B3-1FD1-475B-BA63-E3C8AD48393A}" srcOrd="0" destOrd="0" presId="urn:microsoft.com/office/officeart/2005/8/layout/hierarchy1"/>
    <dgm:cxn modelId="{585CB69D-4320-470F-B6F1-2CDCE3E2F7D2}" type="presParOf" srcId="{93B610EB-CE28-4B5B-BF92-5FACDE70B1ED}" destId="{F36CE7C7-0EAD-4431-BDD7-04A8F8972D01}" srcOrd="1" destOrd="0" presId="urn:microsoft.com/office/officeart/2005/8/layout/hierarchy1"/>
    <dgm:cxn modelId="{348717A8-D0A0-4732-A68B-95D2EC9C657F}" type="presParOf" srcId="{5ACB7CA3-83BB-4C18-8E07-771E8E0ECA96}" destId="{F217852F-292B-4C27-83AA-A84BCB0FA604}" srcOrd="1" destOrd="0" presId="urn:microsoft.com/office/officeart/2005/8/layout/hierarchy1"/>
    <dgm:cxn modelId="{E2FDBE54-2DEC-49AE-A087-3CA4758EF517}" type="presParOf" srcId="{0EE56518-FF26-4E07-9448-2ECB2E2C166C}" destId="{BC5442E5-0480-4D67-A9B6-FC1EF81D40E0}" srcOrd="6" destOrd="0" presId="urn:microsoft.com/office/officeart/2005/8/layout/hierarchy1"/>
    <dgm:cxn modelId="{10B3DF63-6A47-47D1-A11B-5ACF782AF270}" type="presParOf" srcId="{0EE56518-FF26-4E07-9448-2ECB2E2C166C}" destId="{AE4DA251-E11E-40B6-8B27-A32E76B2F7E3}" srcOrd="7" destOrd="0" presId="urn:microsoft.com/office/officeart/2005/8/layout/hierarchy1"/>
    <dgm:cxn modelId="{8760B518-3029-46AC-855F-F24932733775}" type="presParOf" srcId="{AE4DA251-E11E-40B6-8B27-A32E76B2F7E3}" destId="{E80AA136-F8C5-44B7-84EE-6D42FEAE80D1}" srcOrd="0" destOrd="0" presId="urn:microsoft.com/office/officeart/2005/8/layout/hierarchy1"/>
    <dgm:cxn modelId="{057465E1-11B5-4517-B1E7-901BA71CBEE6}" type="presParOf" srcId="{E80AA136-F8C5-44B7-84EE-6D42FEAE80D1}" destId="{25BD2D29-8D13-41C5-9DA1-4F65F629CADC}" srcOrd="0" destOrd="0" presId="urn:microsoft.com/office/officeart/2005/8/layout/hierarchy1"/>
    <dgm:cxn modelId="{B1E04878-A55D-4BB5-A8D6-10A2ABCCD696}" type="presParOf" srcId="{E80AA136-F8C5-44B7-84EE-6D42FEAE80D1}" destId="{7C42988F-7A16-4F03-957E-139E31A71645}" srcOrd="1" destOrd="0" presId="urn:microsoft.com/office/officeart/2005/8/layout/hierarchy1"/>
    <dgm:cxn modelId="{0785DF60-DD07-4118-913B-2CC88001443B}" type="presParOf" srcId="{AE4DA251-E11E-40B6-8B27-A32E76B2F7E3}" destId="{9CB41BC1-A02F-4A91-81AB-D43179613C1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8EF2642-C948-4558-A2B3-0B26D9F153D4}" type="doc">
      <dgm:prSet loTypeId="urn:microsoft.com/office/officeart/2005/8/layout/vList5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16BCF0BD-1B25-4634-8E87-5E808D4E3CCD}">
      <dgm:prSet/>
      <dgm:spPr/>
      <dgm:t>
        <a:bodyPr/>
        <a:lstStyle/>
        <a:p>
          <a:r>
            <a:rPr lang="en-US"/>
            <a:t>What is the Sensitive Locations memo?</a:t>
          </a:r>
        </a:p>
      </dgm:t>
    </dgm:pt>
    <dgm:pt modelId="{176395AB-609D-41AA-95CD-E7A0458D843A}" type="parTrans" cxnId="{EE238405-7142-4F1B-9C41-42DAD208635E}">
      <dgm:prSet/>
      <dgm:spPr/>
      <dgm:t>
        <a:bodyPr/>
        <a:lstStyle/>
        <a:p>
          <a:endParaRPr lang="en-US"/>
        </a:p>
      </dgm:t>
    </dgm:pt>
    <dgm:pt modelId="{62BC1510-0F1D-4C0C-B2E7-A1A47048C97E}" type="sibTrans" cxnId="{EE238405-7142-4F1B-9C41-42DAD208635E}">
      <dgm:prSet/>
      <dgm:spPr/>
      <dgm:t>
        <a:bodyPr/>
        <a:lstStyle/>
        <a:p>
          <a:endParaRPr lang="en-US"/>
        </a:p>
      </dgm:t>
    </dgm:pt>
    <dgm:pt modelId="{C0D1F8FD-46FF-4FFB-9242-BD2692644462}">
      <dgm:prSet/>
      <dgm:spPr/>
      <dgm:t>
        <a:bodyPr/>
        <a:lstStyle/>
        <a:p>
          <a:r>
            <a:rPr lang="en-US"/>
            <a:t>A memo that prohibited ICE from conducting enforcement at </a:t>
          </a:r>
          <a:r>
            <a:rPr lang="en-US">
              <a:latin typeface="Arial"/>
            </a:rPr>
            <a:t>Churches</a:t>
          </a:r>
          <a:r>
            <a:rPr lang="en-US"/>
            <a:t>, Schools, Courts, Weddings and other “sensitive locations”</a:t>
          </a:r>
        </a:p>
      </dgm:t>
    </dgm:pt>
    <dgm:pt modelId="{98B9B704-D3AC-439C-9516-CC676E628975}" type="parTrans" cxnId="{ED3003DA-3226-4CB6-9717-8B47D7FBB8B5}">
      <dgm:prSet/>
      <dgm:spPr/>
      <dgm:t>
        <a:bodyPr/>
        <a:lstStyle/>
        <a:p>
          <a:endParaRPr lang="en-US"/>
        </a:p>
      </dgm:t>
    </dgm:pt>
    <dgm:pt modelId="{37601632-66DB-4E2B-AF82-0B365E94C140}" type="sibTrans" cxnId="{ED3003DA-3226-4CB6-9717-8B47D7FBB8B5}">
      <dgm:prSet/>
      <dgm:spPr/>
      <dgm:t>
        <a:bodyPr/>
        <a:lstStyle/>
        <a:p>
          <a:endParaRPr lang="en-US"/>
        </a:p>
      </dgm:t>
    </dgm:pt>
    <dgm:pt modelId="{11DC972B-2B7D-45F6-B05D-C02F7B136A05}">
      <dgm:prSet/>
      <dgm:spPr/>
      <dgm:t>
        <a:bodyPr/>
        <a:lstStyle/>
        <a:p>
          <a:r>
            <a:rPr lang="en-US"/>
            <a:t>What happened to the Sensitive Locations Memo?</a:t>
          </a:r>
        </a:p>
      </dgm:t>
    </dgm:pt>
    <dgm:pt modelId="{60483F6C-809F-4E75-864E-F74F00AAB28C}" type="parTrans" cxnId="{2FA28CF8-B04D-4646-BB74-F1FF16E61BD6}">
      <dgm:prSet/>
      <dgm:spPr/>
      <dgm:t>
        <a:bodyPr/>
        <a:lstStyle/>
        <a:p>
          <a:endParaRPr lang="en-US"/>
        </a:p>
      </dgm:t>
    </dgm:pt>
    <dgm:pt modelId="{0E3AA69C-DB4B-4383-A6A0-9989B2315D01}" type="sibTrans" cxnId="{2FA28CF8-B04D-4646-BB74-F1FF16E61BD6}">
      <dgm:prSet/>
      <dgm:spPr/>
      <dgm:t>
        <a:bodyPr/>
        <a:lstStyle/>
        <a:p>
          <a:endParaRPr lang="en-US"/>
        </a:p>
      </dgm:t>
    </dgm:pt>
    <dgm:pt modelId="{50A472B6-BD00-4981-A192-A14643443F18}">
      <dgm:prSet/>
      <dgm:spPr/>
      <dgm:t>
        <a:bodyPr/>
        <a:lstStyle/>
        <a:p>
          <a:r>
            <a:rPr lang="en-US"/>
            <a:t>DHS withdrew the memo on January 24, 2025</a:t>
          </a:r>
        </a:p>
      </dgm:t>
    </dgm:pt>
    <dgm:pt modelId="{70B7AE3F-A020-40AB-B495-EF1F6DA9A7C2}" type="parTrans" cxnId="{2CD1D1A7-FF4F-46E2-8B6E-6737F7377862}">
      <dgm:prSet/>
      <dgm:spPr/>
      <dgm:t>
        <a:bodyPr/>
        <a:lstStyle/>
        <a:p>
          <a:endParaRPr lang="en-US"/>
        </a:p>
      </dgm:t>
    </dgm:pt>
    <dgm:pt modelId="{7CFEF329-AB61-446E-A48F-7BB9BAF6D5F7}" type="sibTrans" cxnId="{2CD1D1A7-FF4F-46E2-8B6E-6737F7377862}">
      <dgm:prSet/>
      <dgm:spPr/>
      <dgm:t>
        <a:bodyPr/>
        <a:lstStyle/>
        <a:p>
          <a:endParaRPr lang="en-US"/>
        </a:p>
      </dgm:t>
    </dgm:pt>
    <dgm:pt modelId="{97FAB065-8D5A-4F4B-977D-A2BC48A8B845}" type="pres">
      <dgm:prSet presAssocID="{88EF2642-C948-4558-A2B3-0B26D9F153D4}" presName="Name0" presStyleCnt="0">
        <dgm:presLayoutVars>
          <dgm:dir/>
          <dgm:animLvl val="lvl"/>
          <dgm:resizeHandles val="exact"/>
        </dgm:presLayoutVars>
      </dgm:prSet>
      <dgm:spPr/>
    </dgm:pt>
    <dgm:pt modelId="{8BB790F3-20C0-4266-983E-1E52F17C864D}" type="pres">
      <dgm:prSet presAssocID="{16BCF0BD-1B25-4634-8E87-5E808D4E3CCD}" presName="linNode" presStyleCnt="0"/>
      <dgm:spPr/>
    </dgm:pt>
    <dgm:pt modelId="{16F27CFA-7EEA-46EB-8D76-ED90A7B6F491}" type="pres">
      <dgm:prSet presAssocID="{16BCF0BD-1B25-4634-8E87-5E808D4E3CCD}" presName="parentText" presStyleLbl="node1" presStyleIdx="0" presStyleCnt="2">
        <dgm:presLayoutVars>
          <dgm:chMax val="1"/>
          <dgm:bulletEnabled val="1"/>
        </dgm:presLayoutVars>
      </dgm:prSet>
      <dgm:spPr/>
    </dgm:pt>
    <dgm:pt modelId="{385C5F79-68C4-48EF-905D-3A282AC10FA9}" type="pres">
      <dgm:prSet presAssocID="{16BCF0BD-1B25-4634-8E87-5E808D4E3CCD}" presName="descendantText" presStyleLbl="alignAccFollowNode1" presStyleIdx="0" presStyleCnt="2">
        <dgm:presLayoutVars>
          <dgm:bulletEnabled val="1"/>
        </dgm:presLayoutVars>
      </dgm:prSet>
      <dgm:spPr/>
    </dgm:pt>
    <dgm:pt modelId="{808BF50F-7B19-4F21-86FB-A10FE757DCD1}" type="pres">
      <dgm:prSet presAssocID="{62BC1510-0F1D-4C0C-B2E7-A1A47048C97E}" presName="sp" presStyleCnt="0"/>
      <dgm:spPr/>
    </dgm:pt>
    <dgm:pt modelId="{57CC567D-52E4-44EB-ADDD-8BDA3C56BAAA}" type="pres">
      <dgm:prSet presAssocID="{11DC972B-2B7D-45F6-B05D-C02F7B136A05}" presName="linNode" presStyleCnt="0"/>
      <dgm:spPr/>
    </dgm:pt>
    <dgm:pt modelId="{A5D5F9F1-9FD3-45BA-A17A-4F4E2EB19124}" type="pres">
      <dgm:prSet presAssocID="{11DC972B-2B7D-45F6-B05D-C02F7B136A05}" presName="parentText" presStyleLbl="node1" presStyleIdx="1" presStyleCnt="2">
        <dgm:presLayoutVars>
          <dgm:chMax val="1"/>
          <dgm:bulletEnabled val="1"/>
        </dgm:presLayoutVars>
      </dgm:prSet>
      <dgm:spPr/>
    </dgm:pt>
    <dgm:pt modelId="{C6F0B7C6-767E-4C52-B852-F8F9554A6C0E}" type="pres">
      <dgm:prSet presAssocID="{11DC972B-2B7D-45F6-B05D-C02F7B136A05}" presName="descendantText" presStyleLbl="alignAccFollowNode1" presStyleIdx="1" presStyleCnt="2">
        <dgm:presLayoutVars>
          <dgm:bulletEnabled val="1"/>
        </dgm:presLayoutVars>
      </dgm:prSet>
      <dgm:spPr/>
    </dgm:pt>
  </dgm:ptLst>
  <dgm:cxnLst>
    <dgm:cxn modelId="{EE238405-7142-4F1B-9C41-42DAD208635E}" srcId="{88EF2642-C948-4558-A2B3-0B26D9F153D4}" destId="{16BCF0BD-1B25-4634-8E87-5E808D4E3CCD}" srcOrd="0" destOrd="0" parTransId="{176395AB-609D-41AA-95CD-E7A0458D843A}" sibTransId="{62BC1510-0F1D-4C0C-B2E7-A1A47048C97E}"/>
    <dgm:cxn modelId="{55023742-268D-4861-B14A-810C91B21400}" type="presOf" srcId="{88EF2642-C948-4558-A2B3-0B26D9F153D4}" destId="{97FAB065-8D5A-4F4B-977D-A2BC48A8B845}" srcOrd="0" destOrd="0" presId="urn:microsoft.com/office/officeart/2005/8/layout/vList5"/>
    <dgm:cxn modelId="{7B8D3D47-9E57-40B9-AA75-3F77CF199975}" type="presOf" srcId="{11DC972B-2B7D-45F6-B05D-C02F7B136A05}" destId="{A5D5F9F1-9FD3-45BA-A17A-4F4E2EB19124}" srcOrd="0" destOrd="0" presId="urn:microsoft.com/office/officeart/2005/8/layout/vList5"/>
    <dgm:cxn modelId="{5CEEBC52-D8C4-4EF8-9068-7831196BCDC2}" type="presOf" srcId="{50A472B6-BD00-4981-A192-A14643443F18}" destId="{C6F0B7C6-767E-4C52-B852-F8F9554A6C0E}" srcOrd="0" destOrd="0" presId="urn:microsoft.com/office/officeart/2005/8/layout/vList5"/>
    <dgm:cxn modelId="{2CD1D1A7-FF4F-46E2-8B6E-6737F7377862}" srcId="{11DC972B-2B7D-45F6-B05D-C02F7B136A05}" destId="{50A472B6-BD00-4981-A192-A14643443F18}" srcOrd="0" destOrd="0" parTransId="{70B7AE3F-A020-40AB-B495-EF1F6DA9A7C2}" sibTransId="{7CFEF329-AB61-446E-A48F-7BB9BAF6D5F7}"/>
    <dgm:cxn modelId="{ED3003DA-3226-4CB6-9717-8B47D7FBB8B5}" srcId="{16BCF0BD-1B25-4634-8E87-5E808D4E3CCD}" destId="{C0D1F8FD-46FF-4FFB-9242-BD2692644462}" srcOrd="0" destOrd="0" parTransId="{98B9B704-D3AC-439C-9516-CC676E628975}" sibTransId="{37601632-66DB-4E2B-AF82-0B365E94C140}"/>
    <dgm:cxn modelId="{9DA80DDD-BF95-46C9-B0D9-C27E4A492695}" type="presOf" srcId="{16BCF0BD-1B25-4634-8E87-5E808D4E3CCD}" destId="{16F27CFA-7EEA-46EB-8D76-ED90A7B6F491}" srcOrd="0" destOrd="0" presId="urn:microsoft.com/office/officeart/2005/8/layout/vList5"/>
    <dgm:cxn modelId="{2FA28CF8-B04D-4646-BB74-F1FF16E61BD6}" srcId="{88EF2642-C948-4558-A2B3-0B26D9F153D4}" destId="{11DC972B-2B7D-45F6-B05D-C02F7B136A05}" srcOrd="1" destOrd="0" parTransId="{60483F6C-809F-4E75-864E-F74F00AAB28C}" sibTransId="{0E3AA69C-DB4B-4383-A6A0-9989B2315D01}"/>
    <dgm:cxn modelId="{3DDE46F9-255B-4D20-9FAB-21D4ACB56FC4}" type="presOf" srcId="{C0D1F8FD-46FF-4FFB-9242-BD2692644462}" destId="{385C5F79-68C4-48EF-905D-3A282AC10FA9}" srcOrd="0" destOrd="0" presId="urn:microsoft.com/office/officeart/2005/8/layout/vList5"/>
    <dgm:cxn modelId="{13360F90-9832-4545-B211-D98941E4BA05}" type="presParOf" srcId="{97FAB065-8D5A-4F4B-977D-A2BC48A8B845}" destId="{8BB790F3-20C0-4266-983E-1E52F17C864D}" srcOrd="0" destOrd="0" presId="urn:microsoft.com/office/officeart/2005/8/layout/vList5"/>
    <dgm:cxn modelId="{4090287A-B13E-4B6B-8DB0-C74941A2F378}" type="presParOf" srcId="{8BB790F3-20C0-4266-983E-1E52F17C864D}" destId="{16F27CFA-7EEA-46EB-8D76-ED90A7B6F491}" srcOrd="0" destOrd="0" presId="urn:microsoft.com/office/officeart/2005/8/layout/vList5"/>
    <dgm:cxn modelId="{98AA82E2-8312-4144-8143-F5477CD47412}" type="presParOf" srcId="{8BB790F3-20C0-4266-983E-1E52F17C864D}" destId="{385C5F79-68C4-48EF-905D-3A282AC10FA9}" srcOrd="1" destOrd="0" presId="urn:microsoft.com/office/officeart/2005/8/layout/vList5"/>
    <dgm:cxn modelId="{50FD5B29-D9D7-44D5-964C-4248EF139361}" type="presParOf" srcId="{97FAB065-8D5A-4F4B-977D-A2BC48A8B845}" destId="{808BF50F-7B19-4F21-86FB-A10FE757DCD1}" srcOrd="1" destOrd="0" presId="urn:microsoft.com/office/officeart/2005/8/layout/vList5"/>
    <dgm:cxn modelId="{89E23ED2-53E7-40AD-BC8C-93779E2EEDD5}" type="presParOf" srcId="{97FAB065-8D5A-4F4B-977D-A2BC48A8B845}" destId="{57CC567D-52E4-44EB-ADDD-8BDA3C56BAAA}" srcOrd="2" destOrd="0" presId="urn:microsoft.com/office/officeart/2005/8/layout/vList5"/>
    <dgm:cxn modelId="{7C949D4E-2171-411B-A522-192083B69A66}" type="presParOf" srcId="{57CC567D-52E4-44EB-ADDD-8BDA3C56BAAA}" destId="{A5D5F9F1-9FD3-45BA-A17A-4F4E2EB19124}" srcOrd="0" destOrd="0" presId="urn:microsoft.com/office/officeart/2005/8/layout/vList5"/>
    <dgm:cxn modelId="{FB72A52B-962E-407E-8EC9-609126723AA5}" type="presParOf" srcId="{57CC567D-52E4-44EB-ADDD-8BDA3C56BAAA}" destId="{C6F0B7C6-767E-4C52-B852-F8F9554A6C0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5F8481D-D15D-4352-BA9E-D49037F931F5}" type="doc">
      <dgm:prSet loTypeId="urn:microsoft.com/office/officeart/2016/7/layout/VerticalHollowActionList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7D9150D-F158-46A4-8EED-CBCDA8EF1383}">
      <dgm:prSet/>
      <dgm:spPr/>
      <dgm:t>
        <a:bodyPr/>
        <a:lstStyle/>
        <a:p>
          <a:pPr algn="ctr"/>
          <a:r>
            <a:rPr lang="en-US" b="1"/>
            <a:t>Consult</a:t>
          </a:r>
        </a:p>
      </dgm:t>
    </dgm:pt>
    <dgm:pt modelId="{E1B3F7BB-B31A-428E-AA6B-360E99B72896}" type="parTrans" cxnId="{D6EA90E6-EB96-4D05-B9D3-A5910506D6B8}">
      <dgm:prSet/>
      <dgm:spPr/>
      <dgm:t>
        <a:bodyPr/>
        <a:lstStyle/>
        <a:p>
          <a:pPr algn="ctr"/>
          <a:endParaRPr lang="en-US"/>
        </a:p>
      </dgm:t>
    </dgm:pt>
    <dgm:pt modelId="{BFD0D130-1AF9-4028-B7F3-22F1A857DE84}" type="sibTrans" cxnId="{D6EA90E6-EB96-4D05-B9D3-A5910506D6B8}">
      <dgm:prSet/>
      <dgm:spPr/>
      <dgm:t>
        <a:bodyPr/>
        <a:lstStyle/>
        <a:p>
          <a:pPr algn="ctr"/>
          <a:endParaRPr lang="en-US"/>
        </a:p>
      </dgm:t>
    </dgm:pt>
    <dgm:pt modelId="{718265BF-50D5-466E-A03E-91213974DF41}">
      <dgm:prSet custT="1"/>
      <dgm:spPr/>
      <dgm:t>
        <a:bodyPr/>
        <a:lstStyle/>
        <a:p>
          <a:pPr algn="ctr"/>
          <a:r>
            <a:rPr lang="en-US" sz="1600"/>
            <a:t>Consult with your organization's attorney to review your school’s privacy and visitors' policies </a:t>
          </a:r>
        </a:p>
      </dgm:t>
    </dgm:pt>
    <dgm:pt modelId="{355C7A1A-BF9C-4BA6-8364-E79CCF711837}" type="parTrans" cxnId="{9321DBDA-0874-454F-9919-8A341902D0A4}">
      <dgm:prSet/>
      <dgm:spPr/>
      <dgm:t>
        <a:bodyPr/>
        <a:lstStyle/>
        <a:p>
          <a:pPr algn="ctr"/>
          <a:endParaRPr lang="en-US"/>
        </a:p>
      </dgm:t>
    </dgm:pt>
    <dgm:pt modelId="{A25F92DD-DA00-4D3C-BC0E-A4A3D605D16D}" type="sibTrans" cxnId="{9321DBDA-0874-454F-9919-8A341902D0A4}">
      <dgm:prSet/>
      <dgm:spPr/>
      <dgm:t>
        <a:bodyPr/>
        <a:lstStyle/>
        <a:p>
          <a:pPr algn="ctr"/>
          <a:endParaRPr lang="en-US"/>
        </a:p>
      </dgm:t>
    </dgm:pt>
    <dgm:pt modelId="{160CF036-E35D-446A-A6A0-A643DE85AB10}">
      <dgm:prSet/>
      <dgm:spPr/>
      <dgm:t>
        <a:bodyPr/>
        <a:lstStyle/>
        <a:p>
          <a:pPr algn="ctr"/>
          <a:r>
            <a:rPr lang="en-US" b="1"/>
            <a:t>Designate</a:t>
          </a:r>
        </a:p>
      </dgm:t>
    </dgm:pt>
    <dgm:pt modelId="{886BA1F1-FA7E-43EB-AC8A-252E8A981991}" type="parTrans" cxnId="{E0F67E03-1D28-4566-952C-035A380D0DF7}">
      <dgm:prSet/>
      <dgm:spPr/>
      <dgm:t>
        <a:bodyPr/>
        <a:lstStyle/>
        <a:p>
          <a:pPr algn="ctr"/>
          <a:endParaRPr lang="en-US"/>
        </a:p>
      </dgm:t>
    </dgm:pt>
    <dgm:pt modelId="{5B255D6E-4F35-4B25-A114-AE6A05B6AC38}" type="sibTrans" cxnId="{E0F67E03-1D28-4566-952C-035A380D0DF7}">
      <dgm:prSet/>
      <dgm:spPr/>
      <dgm:t>
        <a:bodyPr/>
        <a:lstStyle/>
        <a:p>
          <a:pPr algn="ctr"/>
          <a:endParaRPr lang="en-US"/>
        </a:p>
      </dgm:t>
    </dgm:pt>
    <dgm:pt modelId="{34F4D186-387A-4BAA-9989-9C83300D38FE}">
      <dgm:prSet custT="1"/>
      <dgm:spPr/>
      <dgm:t>
        <a:bodyPr/>
        <a:lstStyle/>
        <a:p>
          <a:pPr algn="ctr"/>
          <a:r>
            <a:rPr lang="en-US" sz="1800"/>
            <a:t>Designate an administrator or supervisor staff may contact</a:t>
          </a:r>
          <a:r>
            <a:rPr lang="en-US" sz="1600"/>
            <a:t> </a:t>
          </a:r>
        </a:p>
      </dgm:t>
    </dgm:pt>
    <dgm:pt modelId="{CCC22810-570C-4E2D-A2BB-5B7AB344D7DD}" type="parTrans" cxnId="{8C287393-ADEF-42DF-83DB-3ED0C69DD49B}">
      <dgm:prSet/>
      <dgm:spPr/>
      <dgm:t>
        <a:bodyPr/>
        <a:lstStyle/>
        <a:p>
          <a:pPr algn="ctr"/>
          <a:endParaRPr lang="en-US"/>
        </a:p>
      </dgm:t>
    </dgm:pt>
    <dgm:pt modelId="{F93D85FC-E378-45FC-BAAD-1C9E3774F5E1}" type="sibTrans" cxnId="{8C287393-ADEF-42DF-83DB-3ED0C69DD49B}">
      <dgm:prSet/>
      <dgm:spPr/>
      <dgm:t>
        <a:bodyPr/>
        <a:lstStyle/>
        <a:p>
          <a:pPr algn="ctr"/>
          <a:endParaRPr lang="en-US"/>
        </a:p>
      </dgm:t>
    </dgm:pt>
    <dgm:pt modelId="{77F8301B-EDEF-4D6B-A6FE-B1CF7B2DFDAD}">
      <dgm:prSet/>
      <dgm:spPr/>
      <dgm:t>
        <a:bodyPr/>
        <a:lstStyle/>
        <a:p>
          <a:pPr algn="ctr"/>
          <a:r>
            <a:rPr lang="en-US" b="1"/>
            <a:t>Consider</a:t>
          </a:r>
        </a:p>
      </dgm:t>
    </dgm:pt>
    <dgm:pt modelId="{2F40B1E4-4283-4ECC-AEB3-0E2A52EEB899}" type="parTrans" cxnId="{729D1922-9284-4554-9084-0BDFE14FB0C7}">
      <dgm:prSet/>
      <dgm:spPr/>
      <dgm:t>
        <a:bodyPr/>
        <a:lstStyle/>
        <a:p>
          <a:pPr algn="ctr"/>
          <a:endParaRPr lang="en-US"/>
        </a:p>
      </dgm:t>
    </dgm:pt>
    <dgm:pt modelId="{C61918AC-65B6-491A-B6A1-0906E202F282}" type="sibTrans" cxnId="{729D1922-9284-4554-9084-0BDFE14FB0C7}">
      <dgm:prSet/>
      <dgm:spPr/>
      <dgm:t>
        <a:bodyPr/>
        <a:lstStyle/>
        <a:p>
          <a:pPr algn="ctr"/>
          <a:endParaRPr lang="en-US"/>
        </a:p>
      </dgm:t>
    </dgm:pt>
    <dgm:pt modelId="{594EDF1F-DBCB-4EB9-B648-58338F68094C}">
      <dgm:prSet custT="1"/>
      <dgm:spPr/>
      <dgm:t>
        <a:bodyPr/>
        <a:lstStyle/>
        <a:p>
          <a:pPr algn="ctr"/>
          <a:r>
            <a:rPr lang="en-US" sz="1800"/>
            <a:t>Consider student confidentiality and any notice requirements when responding to record requests</a:t>
          </a:r>
        </a:p>
      </dgm:t>
    </dgm:pt>
    <dgm:pt modelId="{60303367-CD6F-4E09-A51B-03171F5F3B1D}" type="parTrans" cxnId="{771F5864-CD22-4060-9DDA-978255BA4E56}">
      <dgm:prSet/>
      <dgm:spPr/>
      <dgm:t>
        <a:bodyPr/>
        <a:lstStyle/>
        <a:p>
          <a:pPr algn="ctr"/>
          <a:endParaRPr lang="en-US"/>
        </a:p>
      </dgm:t>
    </dgm:pt>
    <dgm:pt modelId="{FE844FEE-DA4D-43DA-AE18-B4369CA1E5EB}" type="sibTrans" cxnId="{771F5864-CD22-4060-9DDA-978255BA4E56}">
      <dgm:prSet/>
      <dgm:spPr/>
      <dgm:t>
        <a:bodyPr/>
        <a:lstStyle/>
        <a:p>
          <a:pPr algn="ctr"/>
          <a:endParaRPr lang="en-US"/>
        </a:p>
      </dgm:t>
    </dgm:pt>
    <dgm:pt modelId="{0E8570CA-E949-4F9B-8493-B5EFE7B58254}">
      <dgm:prSet/>
      <dgm:spPr/>
      <dgm:t>
        <a:bodyPr/>
        <a:lstStyle/>
        <a:p>
          <a:pPr algn="ctr"/>
          <a:r>
            <a:rPr lang="en-US" b="1"/>
            <a:t>Consider</a:t>
          </a:r>
        </a:p>
      </dgm:t>
    </dgm:pt>
    <dgm:pt modelId="{02701190-312A-45BD-ADBF-3890447AE0EA}" type="parTrans" cxnId="{9F4A4AC1-C6F9-4821-B8B6-64A5F42F5D77}">
      <dgm:prSet/>
      <dgm:spPr/>
      <dgm:t>
        <a:bodyPr/>
        <a:lstStyle/>
        <a:p>
          <a:pPr algn="ctr"/>
          <a:endParaRPr lang="en-US"/>
        </a:p>
      </dgm:t>
    </dgm:pt>
    <dgm:pt modelId="{2BD5B47F-5CF6-4873-B9B8-F5E1B941E4E5}" type="sibTrans" cxnId="{9F4A4AC1-C6F9-4821-B8B6-64A5F42F5D77}">
      <dgm:prSet/>
      <dgm:spPr/>
      <dgm:t>
        <a:bodyPr/>
        <a:lstStyle/>
        <a:p>
          <a:pPr algn="ctr"/>
          <a:endParaRPr lang="en-US"/>
        </a:p>
      </dgm:t>
    </dgm:pt>
    <dgm:pt modelId="{0CF3F77C-6AA4-47AB-B9B6-C809E6A29F69}">
      <dgm:prSet custT="1"/>
      <dgm:spPr/>
      <dgm:t>
        <a:bodyPr/>
        <a:lstStyle/>
        <a:p>
          <a:pPr algn="ctr"/>
          <a:r>
            <a:rPr lang="en-US" sz="1800"/>
            <a:t>Consider your response to immigration efforts based upon the documentation provided</a:t>
          </a:r>
        </a:p>
      </dgm:t>
    </dgm:pt>
    <dgm:pt modelId="{1A4B08AF-7CDD-4E90-9964-38F648CCAEDD}" type="parTrans" cxnId="{74EAB0C0-CE09-4414-83DF-1CB25BF27981}">
      <dgm:prSet/>
      <dgm:spPr/>
      <dgm:t>
        <a:bodyPr/>
        <a:lstStyle/>
        <a:p>
          <a:pPr algn="ctr"/>
          <a:endParaRPr lang="en-US"/>
        </a:p>
      </dgm:t>
    </dgm:pt>
    <dgm:pt modelId="{38CB9D2D-81A2-48CD-9328-96906C690210}" type="sibTrans" cxnId="{74EAB0C0-CE09-4414-83DF-1CB25BF27981}">
      <dgm:prSet/>
      <dgm:spPr/>
      <dgm:t>
        <a:bodyPr/>
        <a:lstStyle/>
        <a:p>
          <a:pPr algn="ctr"/>
          <a:endParaRPr lang="en-US"/>
        </a:p>
      </dgm:t>
    </dgm:pt>
    <dgm:pt modelId="{2381D678-2CEB-4E2D-8FE2-B96EC9F6386E}" type="pres">
      <dgm:prSet presAssocID="{15F8481D-D15D-4352-BA9E-D49037F931F5}" presName="Name0" presStyleCnt="0">
        <dgm:presLayoutVars>
          <dgm:dir/>
          <dgm:animLvl val="lvl"/>
          <dgm:resizeHandles val="exact"/>
        </dgm:presLayoutVars>
      </dgm:prSet>
      <dgm:spPr/>
    </dgm:pt>
    <dgm:pt modelId="{15B3CF09-9B99-41B2-81B9-B0FE73A396C2}" type="pres">
      <dgm:prSet presAssocID="{87D9150D-F158-46A4-8EED-CBCDA8EF1383}" presName="linNode" presStyleCnt="0"/>
      <dgm:spPr/>
    </dgm:pt>
    <dgm:pt modelId="{71A0F45C-C18F-43BF-8648-103D9A1D0630}" type="pres">
      <dgm:prSet presAssocID="{87D9150D-F158-46A4-8EED-CBCDA8EF1383}" presName="parentText" presStyleLbl="solidFgAcc1" presStyleIdx="0" presStyleCnt="4">
        <dgm:presLayoutVars>
          <dgm:chMax val="1"/>
          <dgm:bulletEnabled/>
        </dgm:presLayoutVars>
      </dgm:prSet>
      <dgm:spPr/>
    </dgm:pt>
    <dgm:pt modelId="{154C422A-FCC5-4C47-924F-A942BB06AE99}" type="pres">
      <dgm:prSet presAssocID="{87D9150D-F158-46A4-8EED-CBCDA8EF1383}" presName="descendantText" presStyleLbl="alignNode1" presStyleIdx="0" presStyleCnt="4">
        <dgm:presLayoutVars>
          <dgm:bulletEnabled/>
        </dgm:presLayoutVars>
      </dgm:prSet>
      <dgm:spPr/>
    </dgm:pt>
    <dgm:pt modelId="{B725688A-E694-40D9-8F50-2654A18E20AD}" type="pres">
      <dgm:prSet presAssocID="{BFD0D130-1AF9-4028-B7F3-22F1A857DE84}" presName="sp" presStyleCnt="0"/>
      <dgm:spPr/>
    </dgm:pt>
    <dgm:pt modelId="{0A712B94-B1F4-4D3A-AE5D-F371E044202B}" type="pres">
      <dgm:prSet presAssocID="{160CF036-E35D-446A-A6A0-A643DE85AB10}" presName="linNode" presStyleCnt="0"/>
      <dgm:spPr/>
    </dgm:pt>
    <dgm:pt modelId="{4134A11C-B371-496A-986C-263633D9E7C0}" type="pres">
      <dgm:prSet presAssocID="{160CF036-E35D-446A-A6A0-A643DE85AB10}" presName="parentText" presStyleLbl="solidFgAcc1" presStyleIdx="1" presStyleCnt="4">
        <dgm:presLayoutVars>
          <dgm:chMax val="1"/>
          <dgm:bulletEnabled/>
        </dgm:presLayoutVars>
      </dgm:prSet>
      <dgm:spPr/>
    </dgm:pt>
    <dgm:pt modelId="{705CB073-E3E8-4D8D-B851-AEABE560DA1B}" type="pres">
      <dgm:prSet presAssocID="{160CF036-E35D-446A-A6A0-A643DE85AB10}" presName="descendantText" presStyleLbl="alignNode1" presStyleIdx="1" presStyleCnt="4" custLinFactNeighborX="-38" custLinFactNeighborY="470">
        <dgm:presLayoutVars>
          <dgm:bulletEnabled/>
        </dgm:presLayoutVars>
      </dgm:prSet>
      <dgm:spPr/>
    </dgm:pt>
    <dgm:pt modelId="{8BCD7EFD-923A-4381-9D07-49FAA062319A}" type="pres">
      <dgm:prSet presAssocID="{5B255D6E-4F35-4B25-A114-AE6A05B6AC38}" presName="sp" presStyleCnt="0"/>
      <dgm:spPr/>
    </dgm:pt>
    <dgm:pt modelId="{0DB2C333-C5FF-4E31-A087-242FA8F9D7F2}" type="pres">
      <dgm:prSet presAssocID="{77F8301B-EDEF-4D6B-A6FE-B1CF7B2DFDAD}" presName="linNode" presStyleCnt="0"/>
      <dgm:spPr/>
    </dgm:pt>
    <dgm:pt modelId="{EA41A29E-15F9-4421-A139-2A754130BE24}" type="pres">
      <dgm:prSet presAssocID="{77F8301B-EDEF-4D6B-A6FE-B1CF7B2DFDAD}" presName="parentText" presStyleLbl="solidFgAcc1" presStyleIdx="2" presStyleCnt="4">
        <dgm:presLayoutVars>
          <dgm:chMax val="1"/>
          <dgm:bulletEnabled/>
        </dgm:presLayoutVars>
      </dgm:prSet>
      <dgm:spPr/>
    </dgm:pt>
    <dgm:pt modelId="{ACB32CE5-DD4C-4EF8-8941-1671E41F80C9}" type="pres">
      <dgm:prSet presAssocID="{77F8301B-EDEF-4D6B-A6FE-B1CF7B2DFDAD}" presName="descendantText" presStyleLbl="alignNode1" presStyleIdx="2" presStyleCnt="4">
        <dgm:presLayoutVars>
          <dgm:bulletEnabled/>
        </dgm:presLayoutVars>
      </dgm:prSet>
      <dgm:spPr/>
    </dgm:pt>
    <dgm:pt modelId="{27132EEF-54EB-4780-AA61-32624FB95D55}" type="pres">
      <dgm:prSet presAssocID="{C61918AC-65B6-491A-B6A1-0906E202F282}" presName="sp" presStyleCnt="0"/>
      <dgm:spPr/>
    </dgm:pt>
    <dgm:pt modelId="{7CCBB178-B3D4-40F8-9E39-1D54F17A70DA}" type="pres">
      <dgm:prSet presAssocID="{0E8570CA-E949-4F9B-8493-B5EFE7B58254}" presName="linNode" presStyleCnt="0"/>
      <dgm:spPr/>
    </dgm:pt>
    <dgm:pt modelId="{74585066-38F4-46B0-B70C-F41314F9E5D5}" type="pres">
      <dgm:prSet presAssocID="{0E8570CA-E949-4F9B-8493-B5EFE7B58254}" presName="parentText" presStyleLbl="solidFgAcc1" presStyleIdx="3" presStyleCnt="4">
        <dgm:presLayoutVars>
          <dgm:chMax val="1"/>
          <dgm:bulletEnabled/>
        </dgm:presLayoutVars>
      </dgm:prSet>
      <dgm:spPr/>
    </dgm:pt>
    <dgm:pt modelId="{793702B3-A599-4867-B795-7FD3E226EF0A}" type="pres">
      <dgm:prSet presAssocID="{0E8570CA-E949-4F9B-8493-B5EFE7B58254}" presName="descendantText" presStyleLbl="alignNode1" presStyleIdx="3" presStyleCnt="4">
        <dgm:presLayoutVars>
          <dgm:bulletEnabled/>
        </dgm:presLayoutVars>
      </dgm:prSet>
      <dgm:spPr/>
    </dgm:pt>
  </dgm:ptLst>
  <dgm:cxnLst>
    <dgm:cxn modelId="{E0F67E03-1D28-4566-952C-035A380D0DF7}" srcId="{15F8481D-D15D-4352-BA9E-D49037F931F5}" destId="{160CF036-E35D-446A-A6A0-A643DE85AB10}" srcOrd="1" destOrd="0" parTransId="{886BA1F1-FA7E-43EB-AC8A-252E8A981991}" sibTransId="{5B255D6E-4F35-4B25-A114-AE6A05B6AC38}"/>
    <dgm:cxn modelId="{729D1922-9284-4554-9084-0BDFE14FB0C7}" srcId="{15F8481D-D15D-4352-BA9E-D49037F931F5}" destId="{77F8301B-EDEF-4D6B-A6FE-B1CF7B2DFDAD}" srcOrd="2" destOrd="0" parTransId="{2F40B1E4-4283-4ECC-AEB3-0E2A52EEB899}" sibTransId="{C61918AC-65B6-491A-B6A1-0906E202F282}"/>
    <dgm:cxn modelId="{ED857D28-B2BC-4581-97AE-EB9AFBEB78A0}" type="presOf" srcId="{34F4D186-387A-4BAA-9989-9C83300D38FE}" destId="{705CB073-E3E8-4D8D-B851-AEABE560DA1B}" srcOrd="0" destOrd="0" presId="urn:microsoft.com/office/officeart/2016/7/layout/VerticalHollowActionList"/>
    <dgm:cxn modelId="{DCFDF73E-ECF5-439F-89A4-3CB5033C47D8}" type="presOf" srcId="{77F8301B-EDEF-4D6B-A6FE-B1CF7B2DFDAD}" destId="{EA41A29E-15F9-4421-A139-2A754130BE24}" srcOrd="0" destOrd="0" presId="urn:microsoft.com/office/officeart/2016/7/layout/VerticalHollowActionList"/>
    <dgm:cxn modelId="{2F84F860-3A56-40E6-B1B5-3A7F2B1C8918}" type="presOf" srcId="{87D9150D-F158-46A4-8EED-CBCDA8EF1383}" destId="{71A0F45C-C18F-43BF-8648-103D9A1D0630}" srcOrd="0" destOrd="0" presId="urn:microsoft.com/office/officeart/2016/7/layout/VerticalHollowActionList"/>
    <dgm:cxn modelId="{771F5864-CD22-4060-9DDA-978255BA4E56}" srcId="{77F8301B-EDEF-4D6B-A6FE-B1CF7B2DFDAD}" destId="{594EDF1F-DBCB-4EB9-B648-58338F68094C}" srcOrd="0" destOrd="0" parTransId="{60303367-CD6F-4E09-A51B-03171F5F3B1D}" sibTransId="{FE844FEE-DA4D-43DA-AE18-B4369CA1E5EB}"/>
    <dgm:cxn modelId="{9FE9AD64-16E1-4AE2-A98A-2FA321837F5E}" type="presOf" srcId="{160CF036-E35D-446A-A6A0-A643DE85AB10}" destId="{4134A11C-B371-496A-986C-263633D9E7C0}" srcOrd="0" destOrd="0" presId="urn:microsoft.com/office/officeart/2016/7/layout/VerticalHollowActionList"/>
    <dgm:cxn modelId="{0E702057-2FDD-43D4-89A1-98F37598C803}" type="presOf" srcId="{15F8481D-D15D-4352-BA9E-D49037F931F5}" destId="{2381D678-2CEB-4E2D-8FE2-B96EC9F6386E}" srcOrd="0" destOrd="0" presId="urn:microsoft.com/office/officeart/2016/7/layout/VerticalHollowActionList"/>
    <dgm:cxn modelId="{E398B757-A8E8-44A1-BFFC-9BC6303EF7CF}" type="presOf" srcId="{0E8570CA-E949-4F9B-8493-B5EFE7B58254}" destId="{74585066-38F4-46B0-B70C-F41314F9E5D5}" srcOrd="0" destOrd="0" presId="urn:microsoft.com/office/officeart/2016/7/layout/VerticalHollowActionList"/>
    <dgm:cxn modelId="{8C287393-ADEF-42DF-83DB-3ED0C69DD49B}" srcId="{160CF036-E35D-446A-A6A0-A643DE85AB10}" destId="{34F4D186-387A-4BAA-9989-9C83300D38FE}" srcOrd="0" destOrd="0" parTransId="{CCC22810-570C-4E2D-A2BB-5B7AB344D7DD}" sibTransId="{F93D85FC-E378-45FC-BAAD-1C9E3774F5E1}"/>
    <dgm:cxn modelId="{B5DC84A7-78B3-47C3-993D-67DBB40BA4D9}" type="presOf" srcId="{718265BF-50D5-466E-A03E-91213974DF41}" destId="{154C422A-FCC5-4C47-924F-A942BB06AE99}" srcOrd="0" destOrd="0" presId="urn:microsoft.com/office/officeart/2016/7/layout/VerticalHollowActionList"/>
    <dgm:cxn modelId="{74EAB0C0-CE09-4414-83DF-1CB25BF27981}" srcId="{0E8570CA-E949-4F9B-8493-B5EFE7B58254}" destId="{0CF3F77C-6AA4-47AB-B9B6-C809E6A29F69}" srcOrd="0" destOrd="0" parTransId="{1A4B08AF-7CDD-4E90-9964-38F648CCAEDD}" sibTransId="{38CB9D2D-81A2-48CD-9328-96906C690210}"/>
    <dgm:cxn modelId="{9F4A4AC1-C6F9-4821-B8B6-64A5F42F5D77}" srcId="{15F8481D-D15D-4352-BA9E-D49037F931F5}" destId="{0E8570CA-E949-4F9B-8493-B5EFE7B58254}" srcOrd="3" destOrd="0" parTransId="{02701190-312A-45BD-ADBF-3890447AE0EA}" sibTransId="{2BD5B47F-5CF6-4873-B9B8-F5E1B941E4E5}"/>
    <dgm:cxn modelId="{679CD1DA-8568-4796-B447-3B7AD41042F4}" type="presOf" srcId="{594EDF1F-DBCB-4EB9-B648-58338F68094C}" destId="{ACB32CE5-DD4C-4EF8-8941-1671E41F80C9}" srcOrd="0" destOrd="0" presId="urn:microsoft.com/office/officeart/2016/7/layout/VerticalHollowActionList"/>
    <dgm:cxn modelId="{9321DBDA-0874-454F-9919-8A341902D0A4}" srcId="{87D9150D-F158-46A4-8EED-CBCDA8EF1383}" destId="{718265BF-50D5-466E-A03E-91213974DF41}" srcOrd="0" destOrd="0" parTransId="{355C7A1A-BF9C-4BA6-8364-E79CCF711837}" sibTransId="{A25F92DD-DA00-4D3C-BC0E-A4A3D605D16D}"/>
    <dgm:cxn modelId="{69FB6BE3-C9DF-4D27-8606-28114377A8FA}" type="presOf" srcId="{0CF3F77C-6AA4-47AB-B9B6-C809E6A29F69}" destId="{793702B3-A599-4867-B795-7FD3E226EF0A}" srcOrd="0" destOrd="0" presId="urn:microsoft.com/office/officeart/2016/7/layout/VerticalHollowActionList"/>
    <dgm:cxn modelId="{D6EA90E6-EB96-4D05-B9D3-A5910506D6B8}" srcId="{15F8481D-D15D-4352-BA9E-D49037F931F5}" destId="{87D9150D-F158-46A4-8EED-CBCDA8EF1383}" srcOrd="0" destOrd="0" parTransId="{E1B3F7BB-B31A-428E-AA6B-360E99B72896}" sibTransId="{BFD0D130-1AF9-4028-B7F3-22F1A857DE84}"/>
    <dgm:cxn modelId="{0FD397C3-ECEC-4FB6-80F7-81C5CC100769}" type="presParOf" srcId="{2381D678-2CEB-4E2D-8FE2-B96EC9F6386E}" destId="{15B3CF09-9B99-41B2-81B9-B0FE73A396C2}" srcOrd="0" destOrd="0" presId="urn:microsoft.com/office/officeart/2016/7/layout/VerticalHollowActionList"/>
    <dgm:cxn modelId="{01025447-CC26-486B-B42B-ED7A49D350EB}" type="presParOf" srcId="{15B3CF09-9B99-41B2-81B9-B0FE73A396C2}" destId="{71A0F45C-C18F-43BF-8648-103D9A1D0630}" srcOrd="0" destOrd="0" presId="urn:microsoft.com/office/officeart/2016/7/layout/VerticalHollowActionList"/>
    <dgm:cxn modelId="{8CFE7467-EE07-47CD-8D0E-B15F43B79AA6}" type="presParOf" srcId="{15B3CF09-9B99-41B2-81B9-B0FE73A396C2}" destId="{154C422A-FCC5-4C47-924F-A942BB06AE99}" srcOrd="1" destOrd="0" presId="urn:microsoft.com/office/officeart/2016/7/layout/VerticalHollowActionList"/>
    <dgm:cxn modelId="{961B4D1E-3930-480F-8D46-6109427D78CC}" type="presParOf" srcId="{2381D678-2CEB-4E2D-8FE2-B96EC9F6386E}" destId="{B725688A-E694-40D9-8F50-2654A18E20AD}" srcOrd="1" destOrd="0" presId="urn:microsoft.com/office/officeart/2016/7/layout/VerticalHollowActionList"/>
    <dgm:cxn modelId="{BB292A47-2812-468B-812F-5DA216DD94CB}" type="presParOf" srcId="{2381D678-2CEB-4E2D-8FE2-B96EC9F6386E}" destId="{0A712B94-B1F4-4D3A-AE5D-F371E044202B}" srcOrd="2" destOrd="0" presId="urn:microsoft.com/office/officeart/2016/7/layout/VerticalHollowActionList"/>
    <dgm:cxn modelId="{17493A5C-4434-4785-8D7B-6E716D6DEFF9}" type="presParOf" srcId="{0A712B94-B1F4-4D3A-AE5D-F371E044202B}" destId="{4134A11C-B371-496A-986C-263633D9E7C0}" srcOrd="0" destOrd="0" presId="urn:microsoft.com/office/officeart/2016/7/layout/VerticalHollowActionList"/>
    <dgm:cxn modelId="{04D8A50C-E65B-44C5-BF1F-D3E4BEF178F8}" type="presParOf" srcId="{0A712B94-B1F4-4D3A-AE5D-F371E044202B}" destId="{705CB073-E3E8-4D8D-B851-AEABE560DA1B}" srcOrd="1" destOrd="0" presId="urn:microsoft.com/office/officeart/2016/7/layout/VerticalHollowActionList"/>
    <dgm:cxn modelId="{3571D700-9FDE-4E39-8030-7EE2DA050511}" type="presParOf" srcId="{2381D678-2CEB-4E2D-8FE2-B96EC9F6386E}" destId="{8BCD7EFD-923A-4381-9D07-49FAA062319A}" srcOrd="3" destOrd="0" presId="urn:microsoft.com/office/officeart/2016/7/layout/VerticalHollowActionList"/>
    <dgm:cxn modelId="{CCDA07AA-7504-4472-AC9D-821B33DA9B7F}" type="presParOf" srcId="{2381D678-2CEB-4E2D-8FE2-B96EC9F6386E}" destId="{0DB2C333-C5FF-4E31-A087-242FA8F9D7F2}" srcOrd="4" destOrd="0" presId="urn:microsoft.com/office/officeart/2016/7/layout/VerticalHollowActionList"/>
    <dgm:cxn modelId="{96B35852-2077-45E9-8534-053A53B65438}" type="presParOf" srcId="{0DB2C333-C5FF-4E31-A087-242FA8F9D7F2}" destId="{EA41A29E-15F9-4421-A139-2A754130BE24}" srcOrd="0" destOrd="0" presId="urn:microsoft.com/office/officeart/2016/7/layout/VerticalHollowActionList"/>
    <dgm:cxn modelId="{2FF7E54F-2178-4B1C-8931-DD4255392D44}" type="presParOf" srcId="{0DB2C333-C5FF-4E31-A087-242FA8F9D7F2}" destId="{ACB32CE5-DD4C-4EF8-8941-1671E41F80C9}" srcOrd="1" destOrd="0" presId="urn:microsoft.com/office/officeart/2016/7/layout/VerticalHollowActionList"/>
    <dgm:cxn modelId="{2C19BE6F-758C-41AA-A838-69573847C9DC}" type="presParOf" srcId="{2381D678-2CEB-4E2D-8FE2-B96EC9F6386E}" destId="{27132EEF-54EB-4780-AA61-32624FB95D55}" srcOrd="5" destOrd="0" presId="urn:microsoft.com/office/officeart/2016/7/layout/VerticalHollowActionList"/>
    <dgm:cxn modelId="{89927370-44D0-4381-ABD0-CD5ACF4E5C5B}" type="presParOf" srcId="{2381D678-2CEB-4E2D-8FE2-B96EC9F6386E}" destId="{7CCBB178-B3D4-40F8-9E39-1D54F17A70DA}" srcOrd="6" destOrd="0" presId="urn:microsoft.com/office/officeart/2016/7/layout/VerticalHollowActionList"/>
    <dgm:cxn modelId="{A2902695-4F33-474C-BF88-AA37E8911921}" type="presParOf" srcId="{7CCBB178-B3D4-40F8-9E39-1D54F17A70DA}" destId="{74585066-38F4-46B0-B70C-F41314F9E5D5}" srcOrd="0" destOrd="0" presId="urn:microsoft.com/office/officeart/2016/7/layout/VerticalHollowActionList"/>
    <dgm:cxn modelId="{E75BD016-C788-4E81-99D4-FBCBCB36C8FE}" type="presParOf" srcId="{7CCBB178-B3D4-40F8-9E39-1D54F17A70DA}" destId="{793702B3-A599-4867-B795-7FD3E226EF0A}" srcOrd="1" destOrd="0" presId="urn:microsoft.com/office/officeart/2016/7/layout/VerticalHollowAc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C3B6DBA-E089-42E3-9197-B0B56E430BE3}" type="doc">
      <dgm:prSet loTypeId="urn:microsoft.com/office/officeart/2005/8/layout/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04595B84-D6A3-4523-9BEE-4590EE33A3DD}">
      <dgm:prSet/>
      <dgm:spPr/>
      <dgm:t>
        <a:bodyPr/>
        <a:lstStyle/>
        <a:p>
          <a:r>
            <a:rPr lang="en-US" b="1"/>
            <a:t>MIRA:</a:t>
          </a:r>
          <a:endParaRPr lang="en-US"/>
        </a:p>
      </dgm:t>
    </dgm:pt>
    <dgm:pt modelId="{09016A78-F106-4766-AE60-03B35A48575C}" type="parTrans" cxnId="{651CECC2-66F3-4CB3-AA29-29378D788853}">
      <dgm:prSet/>
      <dgm:spPr/>
      <dgm:t>
        <a:bodyPr/>
        <a:lstStyle/>
        <a:p>
          <a:endParaRPr lang="en-US"/>
        </a:p>
      </dgm:t>
    </dgm:pt>
    <dgm:pt modelId="{ABBAC1A0-2967-4FD7-8EFB-AEC154C99FCE}" type="sibTrans" cxnId="{651CECC2-66F3-4CB3-AA29-29378D788853}">
      <dgm:prSet/>
      <dgm:spPr/>
      <dgm:t>
        <a:bodyPr/>
        <a:lstStyle/>
        <a:p>
          <a:endParaRPr lang="en-US"/>
        </a:p>
      </dgm:t>
    </dgm:pt>
    <dgm:pt modelId="{810E09DF-ADD5-4CD2-AF7F-E4C69DFA4B56}">
      <dgm:prSet/>
      <dgm:spPr/>
      <dgm:t>
        <a:bodyPr/>
        <a:lstStyle/>
        <a:p>
          <a:r>
            <a:rPr lang="en-US" b="1"/>
            <a:t>PAIR Project:</a:t>
          </a:r>
          <a:endParaRPr lang="en-US"/>
        </a:p>
      </dgm:t>
    </dgm:pt>
    <dgm:pt modelId="{721CE11A-383B-4339-B49B-44099A0C2813}" type="parTrans" cxnId="{1094000E-8ADA-4A8D-BE7E-21909D7C4C81}">
      <dgm:prSet/>
      <dgm:spPr/>
      <dgm:t>
        <a:bodyPr/>
        <a:lstStyle/>
        <a:p>
          <a:endParaRPr lang="en-US"/>
        </a:p>
      </dgm:t>
    </dgm:pt>
    <dgm:pt modelId="{132AE5E8-79C5-494F-BBD3-CAC03CD5C136}" type="sibTrans" cxnId="{1094000E-8ADA-4A8D-BE7E-21909D7C4C81}">
      <dgm:prSet/>
      <dgm:spPr/>
      <dgm:t>
        <a:bodyPr/>
        <a:lstStyle/>
        <a:p>
          <a:endParaRPr lang="en-US"/>
        </a:p>
      </dgm:t>
    </dgm:pt>
    <dgm:pt modelId="{5C4C52E4-8EBB-475D-BE97-62D49C9F5A78}">
      <dgm:prSet/>
      <dgm:spPr/>
      <dgm:t>
        <a:bodyPr/>
        <a:lstStyle/>
        <a:p>
          <a:r>
            <a:rPr lang="en-US"/>
            <a:t>Email Julia Ciachurski at </a:t>
          </a:r>
          <a:r>
            <a:rPr lang="en-US" u="sng">
              <a:hlinkClick xmlns:r="http://schemas.openxmlformats.org/officeDocument/2006/relationships" r:id="rId1"/>
            </a:rPr>
            <a:t>jciachurski@pairproject.org</a:t>
          </a:r>
          <a:r>
            <a:rPr lang="en-US"/>
            <a:t> for KYR Presentation Requests</a:t>
          </a:r>
        </a:p>
      </dgm:t>
    </dgm:pt>
    <dgm:pt modelId="{AE99151C-D529-48DE-8033-1E5A49AE7EC9}" type="parTrans" cxnId="{EB362AD7-2F51-446A-BDC0-EA667F7957A9}">
      <dgm:prSet/>
      <dgm:spPr/>
      <dgm:t>
        <a:bodyPr/>
        <a:lstStyle/>
        <a:p>
          <a:endParaRPr lang="en-US"/>
        </a:p>
      </dgm:t>
    </dgm:pt>
    <dgm:pt modelId="{0860C7B8-96C1-49E0-B69A-4F7BE4494839}" type="sibTrans" cxnId="{EB362AD7-2F51-446A-BDC0-EA667F7957A9}">
      <dgm:prSet/>
      <dgm:spPr/>
      <dgm:t>
        <a:bodyPr/>
        <a:lstStyle/>
        <a:p>
          <a:endParaRPr lang="en-US"/>
        </a:p>
      </dgm:t>
    </dgm:pt>
    <dgm:pt modelId="{2DA0F9F9-240F-4841-AD0B-BF01B7BE1CA5}">
      <dgm:prSet/>
      <dgm:spPr/>
      <dgm:t>
        <a:bodyPr/>
        <a:lstStyle/>
        <a:p>
          <a:r>
            <a:rPr lang="en-US"/>
            <a:t>Contacts:</a:t>
          </a:r>
        </a:p>
      </dgm:t>
    </dgm:pt>
    <dgm:pt modelId="{BDE7F732-A535-41C6-807C-2EFC96B6FA1F}" type="sibTrans" cxnId="{71859124-88BA-4F43-BDF0-9CEF7C888765}">
      <dgm:prSet/>
      <dgm:spPr/>
      <dgm:t>
        <a:bodyPr/>
        <a:lstStyle/>
        <a:p>
          <a:endParaRPr lang="en-US"/>
        </a:p>
      </dgm:t>
    </dgm:pt>
    <dgm:pt modelId="{90352D48-1976-4E30-9098-827B8759FF72}" type="parTrans" cxnId="{71859124-88BA-4F43-BDF0-9CEF7C888765}">
      <dgm:prSet/>
      <dgm:spPr/>
      <dgm:t>
        <a:bodyPr/>
        <a:lstStyle/>
        <a:p>
          <a:endParaRPr lang="en-US"/>
        </a:p>
      </dgm:t>
    </dgm:pt>
    <dgm:pt modelId="{E963A403-268D-4849-9B59-7BDD54A1C4D8}">
      <dgm:prSet/>
      <dgm:spPr/>
      <dgm:t>
        <a:bodyPr/>
        <a:lstStyle/>
        <a:p>
          <a:pPr rtl="0"/>
          <a:r>
            <a:rPr lang="en-US" u="sng">
              <a:latin typeface="Arial"/>
              <a:hlinkClick xmlns:r="http://schemas.openxmlformats.org/officeDocument/2006/relationships" r:id="rId2"/>
            </a:rPr>
            <a:t>Email training</a:t>
          </a:r>
          <a:r>
            <a:rPr lang="en-US" u="sng">
              <a:hlinkClick xmlns:r="http://schemas.openxmlformats.org/officeDocument/2006/relationships" r:id="rId2"/>
            </a:rPr>
            <a:t>@miracoalition.org</a:t>
          </a:r>
          <a:r>
            <a:rPr lang="en-US"/>
            <a:t> for KYR </a:t>
          </a:r>
          <a:r>
            <a:rPr lang="en-US">
              <a:latin typeface="Arial"/>
            </a:rPr>
            <a:t>Presentation Requests</a:t>
          </a:r>
          <a:endParaRPr lang="en-US"/>
        </a:p>
      </dgm:t>
    </dgm:pt>
    <dgm:pt modelId="{92BA4B03-9B70-4708-A9D8-46B26201F7A0}" type="parTrans" cxnId="{08BC35D4-4972-47AA-A8A0-9CDA404DBF78}">
      <dgm:prSet/>
      <dgm:spPr/>
      <dgm:t>
        <a:bodyPr/>
        <a:lstStyle/>
        <a:p>
          <a:endParaRPr lang="en-US"/>
        </a:p>
      </dgm:t>
    </dgm:pt>
    <dgm:pt modelId="{B201199E-BE05-49F9-96DB-4A72F0E61487}" type="sibTrans" cxnId="{08BC35D4-4972-47AA-A8A0-9CDA404DBF78}">
      <dgm:prSet/>
      <dgm:spPr/>
      <dgm:t>
        <a:bodyPr/>
        <a:lstStyle/>
        <a:p>
          <a:endParaRPr lang="en-US"/>
        </a:p>
      </dgm:t>
    </dgm:pt>
    <dgm:pt modelId="{F79B426E-A278-4C58-83B9-6B184D763662}" type="pres">
      <dgm:prSet presAssocID="{CC3B6DBA-E089-42E3-9197-B0B56E430BE3}" presName="linear" presStyleCnt="0">
        <dgm:presLayoutVars>
          <dgm:dir/>
          <dgm:animLvl val="lvl"/>
          <dgm:resizeHandles val="exact"/>
        </dgm:presLayoutVars>
      </dgm:prSet>
      <dgm:spPr/>
    </dgm:pt>
    <dgm:pt modelId="{6121FBD4-BACA-4D7E-B041-465C9F41A200}" type="pres">
      <dgm:prSet presAssocID="{2DA0F9F9-240F-4841-AD0B-BF01B7BE1CA5}" presName="parentLin" presStyleCnt="0"/>
      <dgm:spPr/>
    </dgm:pt>
    <dgm:pt modelId="{0A98D15B-E5FC-492E-B536-F783A1698D52}" type="pres">
      <dgm:prSet presAssocID="{2DA0F9F9-240F-4841-AD0B-BF01B7BE1CA5}" presName="parentLeftMargin" presStyleLbl="node1" presStyleIdx="0" presStyleCnt="1"/>
      <dgm:spPr/>
    </dgm:pt>
    <dgm:pt modelId="{3331CD0B-D1D9-4235-B366-FE6E57AF9A42}" type="pres">
      <dgm:prSet presAssocID="{2DA0F9F9-240F-4841-AD0B-BF01B7BE1CA5}" presName="parentText" presStyleLbl="node1" presStyleIdx="0" presStyleCnt="1" custScaleX="142857" custScaleY="49913">
        <dgm:presLayoutVars>
          <dgm:chMax val="0"/>
          <dgm:bulletEnabled val="1"/>
        </dgm:presLayoutVars>
      </dgm:prSet>
      <dgm:spPr/>
    </dgm:pt>
    <dgm:pt modelId="{196E7A2E-3C74-4D4D-AEE7-E04AB271DC79}" type="pres">
      <dgm:prSet presAssocID="{2DA0F9F9-240F-4841-AD0B-BF01B7BE1CA5}" presName="negativeSpace" presStyleCnt="0"/>
      <dgm:spPr/>
    </dgm:pt>
    <dgm:pt modelId="{CE93D239-7123-46DD-8F40-9EF87A104396}" type="pres">
      <dgm:prSet presAssocID="{2DA0F9F9-240F-4841-AD0B-BF01B7BE1CA5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1094000E-8ADA-4A8D-BE7E-21909D7C4C81}" srcId="{2DA0F9F9-240F-4841-AD0B-BF01B7BE1CA5}" destId="{810E09DF-ADD5-4CD2-AF7F-E4C69DFA4B56}" srcOrd="1" destOrd="0" parTransId="{721CE11A-383B-4339-B49B-44099A0C2813}" sibTransId="{132AE5E8-79C5-494F-BBD3-CAC03CD5C136}"/>
    <dgm:cxn modelId="{2CF6C320-9B2F-40E2-9A86-06B5D67E2BCD}" type="presOf" srcId="{E963A403-268D-4849-9B59-7BDD54A1C4D8}" destId="{CE93D239-7123-46DD-8F40-9EF87A104396}" srcOrd="0" destOrd="1" presId="urn:microsoft.com/office/officeart/2005/8/layout/list1"/>
    <dgm:cxn modelId="{71859124-88BA-4F43-BDF0-9CEF7C888765}" srcId="{CC3B6DBA-E089-42E3-9197-B0B56E430BE3}" destId="{2DA0F9F9-240F-4841-AD0B-BF01B7BE1CA5}" srcOrd="0" destOrd="0" parTransId="{90352D48-1976-4E30-9098-827B8759FF72}" sibTransId="{BDE7F732-A535-41C6-807C-2EFC96B6FA1F}"/>
    <dgm:cxn modelId="{256C152D-14F0-486B-96CC-33C5A2D59576}" type="presOf" srcId="{810E09DF-ADD5-4CD2-AF7F-E4C69DFA4B56}" destId="{CE93D239-7123-46DD-8F40-9EF87A104396}" srcOrd="0" destOrd="2" presId="urn:microsoft.com/office/officeart/2005/8/layout/list1"/>
    <dgm:cxn modelId="{8B26F134-B6FB-4E7B-9B1B-887650CA7C3B}" type="presOf" srcId="{04595B84-D6A3-4523-9BEE-4590EE33A3DD}" destId="{CE93D239-7123-46DD-8F40-9EF87A104396}" srcOrd="0" destOrd="0" presId="urn:microsoft.com/office/officeart/2005/8/layout/list1"/>
    <dgm:cxn modelId="{E7BEED85-96DD-4E96-B789-2FAF9EC04393}" type="presOf" srcId="{2DA0F9F9-240F-4841-AD0B-BF01B7BE1CA5}" destId="{3331CD0B-D1D9-4235-B366-FE6E57AF9A42}" srcOrd="1" destOrd="0" presId="urn:microsoft.com/office/officeart/2005/8/layout/list1"/>
    <dgm:cxn modelId="{651CECC2-66F3-4CB3-AA29-29378D788853}" srcId="{2DA0F9F9-240F-4841-AD0B-BF01B7BE1CA5}" destId="{04595B84-D6A3-4523-9BEE-4590EE33A3DD}" srcOrd="0" destOrd="0" parTransId="{09016A78-F106-4766-AE60-03B35A48575C}" sibTransId="{ABBAC1A0-2967-4FD7-8EFB-AEC154C99FCE}"/>
    <dgm:cxn modelId="{3EBCBCC3-71E9-42BC-B694-78E199C97BE9}" type="presOf" srcId="{2DA0F9F9-240F-4841-AD0B-BF01B7BE1CA5}" destId="{0A98D15B-E5FC-492E-B536-F783A1698D52}" srcOrd="0" destOrd="0" presId="urn:microsoft.com/office/officeart/2005/8/layout/list1"/>
    <dgm:cxn modelId="{E709F9CF-E954-4EA9-8442-D82C16182F05}" type="presOf" srcId="{CC3B6DBA-E089-42E3-9197-B0B56E430BE3}" destId="{F79B426E-A278-4C58-83B9-6B184D763662}" srcOrd="0" destOrd="0" presId="urn:microsoft.com/office/officeart/2005/8/layout/list1"/>
    <dgm:cxn modelId="{08BC35D4-4972-47AA-A8A0-9CDA404DBF78}" srcId="{04595B84-D6A3-4523-9BEE-4590EE33A3DD}" destId="{E963A403-268D-4849-9B59-7BDD54A1C4D8}" srcOrd="0" destOrd="0" parTransId="{92BA4B03-9B70-4708-A9D8-46B26201F7A0}" sibTransId="{B201199E-BE05-49F9-96DB-4A72F0E61487}"/>
    <dgm:cxn modelId="{EB362AD7-2F51-446A-BDC0-EA667F7957A9}" srcId="{810E09DF-ADD5-4CD2-AF7F-E4C69DFA4B56}" destId="{5C4C52E4-8EBB-475D-BE97-62D49C9F5A78}" srcOrd="0" destOrd="0" parTransId="{AE99151C-D529-48DE-8033-1E5A49AE7EC9}" sibTransId="{0860C7B8-96C1-49E0-B69A-4F7BE4494839}"/>
    <dgm:cxn modelId="{DEF7AAE1-23E2-4A82-8407-2569478A68BD}" type="presOf" srcId="{5C4C52E4-8EBB-475D-BE97-62D49C9F5A78}" destId="{CE93D239-7123-46DD-8F40-9EF87A104396}" srcOrd="0" destOrd="3" presId="urn:microsoft.com/office/officeart/2005/8/layout/list1"/>
    <dgm:cxn modelId="{E62C3B3E-3434-47B9-A1DA-D7B8523614CA}" type="presParOf" srcId="{F79B426E-A278-4C58-83B9-6B184D763662}" destId="{6121FBD4-BACA-4D7E-B041-465C9F41A200}" srcOrd="0" destOrd="0" presId="urn:microsoft.com/office/officeart/2005/8/layout/list1"/>
    <dgm:cxn modelId="{74C89D2D-6D19-4921-A355-DF7993D83F9D}" type="presParOf" srcId="{6121FBD4-BACA-4D7E-B041-465C9F41A200}" destId="{0A98D15B-E5FC-492E-B536-F783A1698D52}" srcOrd="0" destOrd="0" presId="urn:microsoft.com/office/officeart/2005/8/layout/list1"/>
    <dgm:cxn modelId="{5FC975A8-479B-4520-8038-D97090EA8214}" type="presParOf" srcId="{6121FBD4-BACA-4D7E-B041-465C9F41A200}" destId="{3331CD0B-D1D9-4235-B366-FE6E57AF9A42}" srcOrd="1" destOrd="0" presId="urn:microsoft.com/office/officeart/2005/8/layout/list1"/>
    <dgm:cxn modelId="{5E89CFE4-0DAE-4186-809D-9204EAE50093}" type="presParOf" srcId="{F79B426E-A278-4C58-83B9-6B184D763662}" destId="{196E7A2E-3C74-4D4D-AEE7-E04AB271DC79}" srcOrd="1" destOrd="0" presId="urn:microsoft.com/office/officeart/2005/8/layout/list1"/>
    <dgm:cxn modelId="{A5BC6AE2-F859-451F-AAC6-B46CE35FAEB1}" type="presParOf" srcId="{F79B426E-A278-4C58-83B9-6B184D763662}" destId="{CE93D239-7123-46DD-8F40-9EF87A104396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1DC225B-050D-4A63-AD7A-E8E10035525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020B0E5-6095-43F7-A580-577AE89D1DE5}">
      <dgm:prSet/>
      <dgm:spPr/>
      <dgm:t>
        <a:bodyPr/>
        <a:lstStyle/>
        <a:p>
          <a:r>
            <a:rPr lang="en-US" b="0" i="0" baseline="0"/>
            <a:t>Legal Services Directory in Massachusetts:</a:t>
          </a:r>
          <a:endParaRPr lang="en-US"/>
        </a:p>
      </dgm:t>
    </dgm:pt>
    <dgm:pt modelId="{DC813B4E-1D23-4F14-AAFF-303F8DD51624}" type="parTrans" cxnId="{6FA99D7A-3A61-4668-A46C-19E3C8855727}">
      <dgm:prSet/>
      <dgm:spPr/>
      <dgm:t>
        <a:bodyPr/>
        <a:lstStyle/>
        <a:p>
          <a:endParaRPr lang="en-US"/>
        </a:p>
      </dgm:t>
    </dgm:pt>
    <dgm:pt modelId="{0EA29AED-1C59-455E-9D1F-ABCD9157E4BE}" type="sibTrans" cxnId="{6FA99D7A-3A61-4668-A46C-19E3C8855727}">
      <dgm:prSet/>
      <dgm:spPr/>
      <dgm:t>
        <a:bodyPr/>
        <a:lstStyle/>
        <a:p>
          <a:endParaRPr lang="en-US"/>
        </a:p>
      </dgm:t>
    </dgm:pt>
    <dgm:pt modelId="{2119F199-CB3F-49D7-AD16-35C59E81EBFC}">
      <dgm:prSet/>
      <dgm:spPr/>
      <dgm:t>
        <a:bodyPr/>
        <a:lstStyle/>
        <a:p>
          <a:r>
            <a:rPr lang="en-US" b="0" i="0" baseline="0"/>
            <a:t>Massachusetts Legal Resource Finder: </a:t>
          </a:r>
          <a:r>
            <a:rPr lang="en-US" b="0" i="0" u="sng" baseline="0">
              <a:hlinkClick xmlns:r="http://schemas.openxmlformats.org/officeDocument/2006/relationships" r:id="rId1"/>
            </a:rPr>
            <a:t>https://masslrf.org/en/home</a:t>
          </a:r>
          <a:r>
            <a:rPr lang="en-US" b="0" i="0" u="sng" baseline="0"/>
            <a:t> </a:t>
          </a:r>
          <a:r>
            <a:rPr lang="en-US" b="0" i="0" baseline="0"/>
            <a:t> </a:t>
          </a:r>
          <a:endParaRPr lang="en-US"/>
        </a:p>
      </dgm:t>
    </dgm:pt>
    <dgm:pt modelId="{B28AEE9F-84E5-4E1A-AF65-C9D1F13ABE93}" type="parTrans" cxnId="{D4ACFC99-2AC2-4963-9FFC-F42B56E01AA4}">
      <dgm:prSet/>
      <dgm:spPr/>
      <dgm:t>
        <a:bodyPr/>
        <a:lstStyle/>
        <a:p>
          <a:endParaRPr lang="en-US"/>
        </a:p>
      </dgm:t>
    </dgm:pt>
    <dgm:pt modelId="{4019C3A4-FC53-446A-9C42-2B857D8B65C0}" type="sibTrans" cxnId="{D4ACFC99-2AC2-4963-9FFC-F42B56E01AA4}">
      <dgm:prSet/>
      <dgm:spPr/>
      <dgm:t>
        <a:bodyPr/>
        <a:lstStyle/>
        <a:p>
          <a:endParaRPr lang="en-US"/>
        </a:p>
      </dgm:t>
    </dgm:pt>
    <dgm:pt modelId="{BBD9FCB4-BB60-4CC6-98DB-E491037E56BF}">
      <dgm:prSet/>
      <dgm:spPr/>
      <dgm:t>
        <a:bodyPr/>
        <a:lstStyle/>
        <a:p>
          <a:r>
            <a:rPr lang="en-US" b="0" i="0" baseline="0"/>
            <a:t>Immigration court list of legal services: </a:t>
          </a:r>
          <a:r>
            <a:rPr lang="en-US" b="0" i="0" u="sng" baseline="0">
              <a:hlinkClick xmlns:r="http://schemas.openxmlformats.org/officeDocument/2006/relationships" r:id="rId2"/>
            </a:rPr>
            <a:t>https://www.justice.gov/eoir/file/ProBonoMA/download</a:t>
          </a:r>
          <a:endParaRPr lang="en-US"/>
        </a:p>
      </dgm:t>
    </dgm:pt>
    <dgm:pt modelId="{B720FF23-323F-477A-A863-C639E1D7526B}" type="parTrans" cxnId="{FA41771C-C327-4F6B-8BD4-0EA0E1DD26C2}">
      <dgm:prSet/>
      <dgm:spPr/>
      <dgm:t>
        <a:bodyPr/>
        <a:lstStyle/>
        <a:p>
          <a:endParaRPr lang="en-US"/>
        </a:p>
      </dgm:t>
    </dgm:pt>
    <dgm:pt modelId="{E7A04383-0910-4EED-839F-62E76A68C7A0}" type="sibTrans" cxnId="{FA41771C-C327-4F6B-8BD4-0EA0E1DD26C2}">
      <dgm:prSet/>
      <dgm:spPr/>
      <dgm:t>
        <a:bodyPr/>
        <a:lstStyle/>
        <a:p>
          <a:endParaRPr lang="en-US"/>
        </a:p>
      </dgm:t>
    </dgm:pt>
    <dgm:pt modelId="{806FC610-FF93-47C1-B4CE-92D242540144}">
      <dgm:prSet/>
      <dgm:spPr/>
      <dgm:t>
        <a:bodyPr/>
        <a:lstStyle/>
        <a:p>
          <a:r>
            <a:rPr lang="en-US" b="0" i="0" baseline="0"/>
            <a:t>Legal Services Directory Outside of Massachusetts:</a:t>
          </a:r>
          <a:endParaRPr lang="en-US"/>
        </a:p>
      </dgm:t>
    </dgm:pt>
    <dgm:pt modelId="{BC70492E-F774-4184-BAC1-29FCFF8BF486}" type="parTrans" cxnId="{312E925F-2D55-4F1B-93B2-E0B054FA5A34}">
      <dgm:prSet/>
      <dgm:spPr/>
      <dgm:t>
        <a:bodyPr/>
        <a:lstStyle/>
        <a:p>
          <a:endParaRPr lang="en-US"/>
        </a:p>
      </dgm:t>
    </dgm:pt>
    <dgm:pt modelId="{43BFB16F-DF3C-4F65-B1E4-FE4160500723}" type="sibTrans" cxnId="{312E925F-2D55-4F1B-93B2-E0B054FA5A34}">
      <dgm:prSet/>
      <dgm:spPr/>
      <dgm:t>
        <a:bodyPr/>
        <a:lstStyle/>
        <a:p>
          <a:endParaRPr lang="en-US"/>
        </a:p>
      </dgm:t>
    </dgm:pt>
    <dgm:pt modelId="{1DE630CF-6102-4847-8675-EAEAF8440610}">
      <dgm:prSet/>
      <dgm:spPr/>
      <dgm:t>
        <a:bodyPr/>
        <a:lstStyle/>
        <a:p>
          <a:r>
            <a:rPr lang="en-US" b="0" i="0" baseline="0"/>
            <a:t>Immigration Advocates Network Legal Directory: </a:t>
          </a:r>
          <a:r>
            <a:rPr lang="en-US" b="0" i="0" u="sng" baseline="0">
              <a:hlinkClick xmlns:r="http://schemas.openxmlformats.org/officeDocument/2006/relationships" r:id="rId3"/>
            </a:rPr>
            <a:t>https://www.immigrationadvocates.org/legaldirectory/</a:t>
          </a:r>
          <a:r>
            <a:rPr lang="en-US" b="0" i="0" baseline="0"/>
            <a:t>  </a:t>
          </a:r>
          <a:endParaRPr lang="en-US"/>
        </a:p>
      </dgm:t>
    </dgm:pt>
    <dgm:pt modelId="{B796C593-41ED-42AF-B328-0227C817643C}" type="parTrans" cxnId="{0144FC95-F4AF-44AA-8A24-23005117E091}">
      <dgm:prSet/>
      <dgm:spPr/>
      <dgm:t>
        <a:bodyPr/>
        <a:lstStyle/>
        <a:p>
          <a:endParaRPr lang="en-US"/>
        </a:p>
      </dgm:t>
    </dgm:pt>
    <dgm:pt modelId="{A8D98A07-3F0D-49CD-ADC4-9BCACDC7E926}" type="sibTrans" cxnId="{0144FC95-F4AF-44AA-8A24-23005117E091}">
      <dgm:prSet/>
      <dgm:spPr/>
      <dgm:t>
        <a:bodyPr/>
        <a:lstStyle/>
        <a:p>
          <a:endParaRPr lang="en-US"/>
        </a:p>
      </dgm:t>
    </dgm:pt>
    <dgm:pt modelId="{941BC56C-B3A3-4A37-9368-810958AB4D3E}">
      <dgm:prSet/>
      <dgm:spPr/>
      <dgm:t>
        <a:bodyPr/>
        <a:lstStyle/>
        <a:p>
          <a:r>
            <a:rPr lang="en-US" b="0" i="0" baseline="0"/>
            <a:t>City of Boston free consultations:</a:t>
          </a:r>
          <a:endParaRPr lang="en-US"/>
        </a:p>
      </dgm:t>
    </dgm:pt>
    <dgm:pt modelId="{DECA5CB5-5A03-4EBC-AA4B-AECC2A456093}" type="parTrans" cxnId="{408DD8EB-FACE-4052-B8C8-CA921AD60905}">
      <dgm:prSet/>
      <dgm:spPr/>
      <dgm:t>
        <a:bodyPr/>
        <a:lstStyle/>
        <a:p>
          <a:endParaRPr lang="en-US"/>
        </a:p>
      </dgm:t>
    </dgm:pt>
    <dgm:pt modelId="{15795D7A-27B5-4F64-81C2-37C50A783EE5}" type="sibTrans" cxnId="{408DD8EB-FACE-4052-B8C8-CA921AD60905}">
      <dgm:prSet/>
      <dgm:spPr/>
      <dgm:t>
        <a:bodyPr/>
        <a:lstStyle/>
        <a:p>
          <a:endParaRPr lang="en-US"/>
        </a:p>
      </dgm:t>
    </dgm:pt>
    <dgm:pt modelId="{7FF66686-9919-4C8D-B8F7-CF609CD37AF0}">
      <dgm:prSet/>
      <dgm:spPr/>
      <dgm:t>
        <a:bodyPr/>
        <a:lstStyle/>
        <a:p>
          <a:r>
            <a:rPr lang="en-US" b="0" i="0">
              <a:hlinkClick xmlns:r="http://schemas.openxmlformats.org/officeDocument/2006/relationships" r:id="rId4" tooltip="https://www.boston.gov/departments/immigrant-advancement/free-immigration-consultations"/>
            </a:rPr>
            <a:t>https://www.boston.gov/departments/immigrant-advancement/free-immigration-consultations</a:t>
          </a:r>
          <a:r>
            <a:rPr lang="en-US" b="0" i="0"/>
            <a:t>.</a:t>
          </a:r>
          <a:endParaRPr lang="en-US"/>
        </a:p>
      </dgm:t>
    </dgm:pt>
    <dgm:pt modelId="{900F9CFE-BB0D-43D5-9410-1783CE37AC18}" type="parTrans" cxnId="{C62BD48D-2C99-4CB4-B5C9-21212FBD6C05}">
      <dgm:prSet/>
      <dgm:spPr/>
      <dgm:t>
        <a:bodyPr/>
        <a:lstStyle/>
        <a:p>
          <a:endParaRPr lang="en-US"/>
        </a:p>
      </dgm:t>
    </dgm:pt>
    <dgm:pt modelId="{85BD9E5D-08B7-4C97-A648-F4A60EF80170}" type="sibTrans" cxnId="{C62BD48D-2C99-4CB4-B5C9-21212FBD6C05}">
      <dgm:prSet/>
      <dgm:spPr/>
      <dgm:t>
        <a:bodyPr/>
        <a:lstStyle/>
        <a:p>
          <a:endParaRPr lang="en-US"/>
        </a:p>
      </dgm:t>
    </dgm:pt>
    <dgm:pt modelId="{90A01073-DEF1-4695-A8CD-C3CA4C3F8F4E}" type="pres">
      <dgm:prSet presAssocID="{F1DC225B-050D-4A63-AD7A-E8E100355250}" presName="linear" presStyleCnt="0">
        <dgm:presLayoutVars>
          <dgm:dir/>
          <dgm:animLvl val="lvl"/>
          <dgm:resizeHandles val="exact"/>
        </dgm:presLayoutVars>
      </dgm:prSet>
      <dgm:spPr/>
    </dgm:pt>
    <dgm:pt modelId="{438524C5-830A-44CC-B78F-B124CAFB6947}" type="pres">
      <dgm:prSet presAssocID="{D020B0E5-6095-43F7-A580-577AE89D1DE5}" presName="parentLin" presStyleCnt="0"/>
      <dgm:spPr/>
    </dgm:pt>
    <dgm:pt modelId="{A22BE037-3D39-4F5D-8F74-0F53112C0321}" type="pres">
      <dgm:prSet presAssocID="{D020B0E5-6095-43F7-A580-577AE89D1DE5}" presName="parentLeftMargin" presStyleLbl="node1" presStyleIdx="0" presStyleCnt="2"/>
      <dgm:spPr/>
    </dgm:pt>
    <dgm:pt modelId="{85788615-EA7E-4075-BFD0-11A49CFAF1C0}" type="pres">
      <dgm:prSet presAssocID="{D020B0E5-6095-43F7-A580-577AE89D1DE5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ABC447AC-BF72-4CDB-8043-538BA128C83E}" type="pres">
      <dgm:prSet presAssocID="{D020B0E5-6095-43F7-A580-577AE89D1DE5}" presName="negativeSpace" presStyleCnt="0"/>
      <dgm:spPr/>
    </dgm:pt>
    <dgm:pt modelId="{DBB9472C-420F-4D2B-A980-69113783ABD5}" type="pres">
      <dgm:prSet presAssocID="{D020B0E5-6095-43F7-A580-577AE89D1DE5}" presName="childText" presStyleLbl="conFgAcc1" presStyleIdx="0" presStyleCnt="2">
        <dgm:presLayoutVars>
          <dgm:bulletEnabled val="1"/>
        </dgm:presLayoutVars>
      </dgm:prSet>
      <dgm:spPr/>
    </dgm:pt>
    <dgm:pt modelId="{5FE1673D-BD97-4476-8448-D812762F1C39}" type="pres">
      <dgm:prSet presAssocID="{0EA29AED-1C59-455E-9D1F-ABCD9157E4BE}" presName="spaceBetweenRectangles" presStyleCnt="0"/>
      <dgm:spPr/>
    </dgm:pt>
    <dgm:pt modelId="{0C8BBCDD-AC38-4A43-B43D-D4F37715E62C}" type="pres">
      <dgm:prSet presAssocID="{806FC610-FF93-47C1-B4CE-92D242540144}" presName="parentLin" presStyleCnt="0"/>
      <dgm:spPr/>
    </dgm:pt>
    <dgm:pt modelId="{DEAC4395-D829-437D-94CA-DB72E3734475}" type="pres">
      <dgm:prSet presAssocID="{806FC610-FF93-47C1-B4CE-92D242540144}" presName="parentLeftMargin" presStyleLbl="node1" presStyleIdx="0" presStyleCnt="2"/>
      <dgm:spPr/>
    </dgm:pt>
    <dgm:pt modelId="{E5F66603-6492-49A3-B271-ED533C941B0E}" type="pres">
      <dgm:prSet presAssocID="{806FC610-FF93-47C1-B4CE-92D242540144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28F2E07-9280-40E5-9376-BF1155CA3149}" type="pres">
      <dgm:prSet presAssocID="{806FC610-FF93-47C1-B4CE-92D242540144}" presName="negativeSpace" presStyleCnt="0"/>
      <dgm:spPr/>
    </dgm:pt>
    <dgm:pt modelId="{3F11C419-1C04-4A3E-AF33-3215D40C8532}" type="pres">
      <dgm:prSet presAssocID="{806FC610-FF93-47C1-B4CE-92D242540144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EFF9DA04-0943-49B0-8C46-D668278FFD3A}" type="presOf" srcId="{D020B0E5-6095-43F7-A580-577AE89D1DE5}" destId="{A22BE037-3D39-4F5D-8F74-0F53112C0321}" srcOrd="0" destOrd="0" presId="urn:microsoft.com/office/officeart/2005/8/layout/list1"/>
    <dgm:cxn modelId="{FA41771C-C327-4F6B-8BD4-0EA0E1DD26C2}" srcId="{D020B0E5-6095-43F7-A580-577AE89D1DE5}" destId="{BBD9FCB4-BB60-4CC6-98DB-E491037E56BF}" srcOrd="1" destOrd="0" parTransId="{B720FF23-323F-477A-A863-C639E1D7526B}" sibTransId="{E7A04383-0910-4EED-839F-62E76A68C7A0}"/>
    <dgm:cxn modelId="{4E886F28-85AE-42DD-880E-255651F2EDF3}" type="presOf" srcId="{806FC610-FF93-47C1-B4CE-92D242540144}" destId="{DEAC4395-D829-437D-94CA-DB72E3734475}" srcOrd="0" destOrd="0" presId="urn:microsoft.com/office/officeart/2005/8/layout/list1"/>
    <dgm:cxn modelId="{312E925F-2D55-4F1B-93B2-E0B054FA5A34}" srcId="{F1DC225B-050D-4A63-AD7A-E8E100355250}" destId="{806FC610-FF93-47C1-B4CE-92D242540144}" srcOrd="1" destOrd="0" parTransId="{BC70492E-F774-4184-BAC1-29FCFF8BF486}" sibTransId="{43BFB16F-DF3C-4F65-B1E4-FE4160500723}"/>
    <dgm:cxn modelId="{D8965949-807F-456F-ABE0-014607623ECF}" type="presOf" srcId="{941BC56C-B3A3-4A37-9368-810958AB4D3E}" destId="{DBB9472C-420F-4D2B-A980-69113783ABD5}" srcOrd="0" destOrd="2" presId="urn:microsoft.com/office/officeart/2005/8/layout/list1"/>
    <dgm:cxn modelId="{8EF8C555-3592-4972-916F-45138484FB1A}" type="presOf" srcId="{1DE630CF-6102-4847-8675-EAEAF8440610}" destId="{3F11C419-1C04-4A3E-AF33-3215D40C8532}" srcOrd="0" destOrd="0" presId="urn:microsoft.com/office/officeart/2005/8/layout/list1"/>
    <dgm:cxn modelId="{6FA99D7A-3A61-4668-A46C-19E3C8855727}" srcId="{F1DC225B-050D-4A63-AD7A-E8E100355250}" destId="{D020B0E5-6095-43F7-A580-577AE89D1DE5}" srcOrd="0" destOrd="0" parTransId="{DC813B4E-1D23-4F14-AAFF-303F8DD51624}" sibTransId="{0EA29AED-1C59-455E-9D1F-ABCD9157E4BE}"/>
    <dgm:cxn modelId="{C62BD48D-2C99-4CB4-B5C9-21212FBD6C05}" srcId="{D020B0E5-6095-43F7-A580-577AE89D1DE5}" destId="{7FF66686-9919-4C8D-B8F7-CF609CD37AF0}" srcOrd="3" destOrd="0" parTransId="{900F9CFE-BB0D-43D5-9410-1783CE37AC18}" sibTransId="{85BD9E5D-08B7-4C97-A648-F4A60EF80170}"/>
    <dgm:cxn modelId="{0144FC95-F4AF-44AA-8A24-23005117E091}" srcId="{806FC610-FF93-47C1-B4CE-92D242540144}" destId="{1DE630CF-6102-4847-8675-EAEAF8440610}" srcOrd="0" destOrd="0" parTransId="{B796C593-41ED-42AF-B328-0227C817643C}" sibTransId="{A8D98A07-3F0D-49CD-ADC4-9BCACDC7E926}"/>
    <dgm:cxn modelId="{2ACC0B99-E5C6-4014-B9DF-4CEA6B52E730}" type="presOf" srcId="{806FC610-FF93-47C1-B4CE-92D242540144}" destId="{E5F66603-6492-49A3-B271-ED533C941B0E}" srcOrd="1" destOrd="0" presId="urn:microsoft.com/office/officeart/2005/8/layout/list1"/>
    <dgm:cxn modelId="{D4ACFC99-2AC2-4963-9FFC-F42B56E01AA4}" srcId="{D020B0E5-6095-43F7-A580-577AE89D1DE5}" destId="{2119F199-CB3F-49D7-AD16-35C59E81EBFC}" srcOrd="0" destOrd="0" parTransId="{B28AEE9F-84E5-4E1A-AF65-C9D1F13ABE93}" sibTransId="{4019C3A4-FC53-446A-9C42-2B857D8B65C0}"/>
    <dgm:cxn modelId="{3C65FDAA-740D-4162-80A5-97656489E4C4}" type="presOf" srcId="{F1DC225B-050D-4A63-AD7A-E8E100355250}" destId="{90A01073-DEF1-4695-A8CD-C3CA4C3F8F4E}" srcOrd="0" destOrd="0" presId="urn:microsoft.com/office/officeart/2005/8/layout/list1"/>
    <dgm:cxn modelId="{DEB6C5BB-54A1-4848-B929-08ACB138D929}" type="presOf" srcId="{2119F199-CB3F-49D7-AD16-35C59E81EBFC}" destId="{DBB9472C-420F-4D2B-A980-69113783ABD5}" srcOrd="0" destOrd="0" presId="urn:microsoft.com/office/officeart/2005/8/layout/list1"/>
    <dgm:cxn modelId="{EAFA05CA-1E5C-4F7E-99FA-B1CE162713C3}" type="presOf" srcId="{7FF66686-9919-4C8D-B8F7-CF609CD37AF0}" destId="{DBB9472C-420F-4D2B-A980-69113783ABD5}" srcOrd="0" destOrd="3" presId="urn:microsoft.com/office/officeart/2005/8/layout/list1"/>
    <dgm:cxn modelId="{408DD8EB-FACE-4052-B8C8-CA921AD60905}" srcId="{D020B0E5-6095-43F7-A580-577AE89D1DE5}" destId="{941BC56C-B3A3-4A37-9368-810958AB4D3E}" srcOrd="2" destOrd="0" parTransId="{DECA5CB5-5A03-4EBC-AA4B-AECC2A456093}" sibTransId="{15795D7A-27B5-4F64-81C2-37C50A783EE5}"/>
    <dgm:cxn modelId="{DEBDA2F2-7F2F-4BB2-B0D9-DC5A25DD4E6D}" type="presOf" srcId="{D020B0E5-6095-43F7-A580-577AE89D1DE5}" destId="{85788615-EA7E-4075-BFD0-11A49CFAF1C0}" srcOrd="1" destOrd="0" presId="urn:microsoft.com/office/officeart/2005/8/layout/list1"/>
    <dgm:cxn modelId="{BAA7EEF3-F5FF-4ECF-B684-43BEC6F0BC5B}" type="presOf" srcId="{BBD9FCB4-BB60-4CC6-98DB-E491037E56BF}" destId="{DBB9472C-420F-4D2B-A980-69113783ABD5}" srcOrd="0" destOrd="1" presId="urn:microsoft.com/office/officeart/2005/8/layout/list1"/>
    <dgm:cxn modelId="{F0FD9C0E-DAD5-4121-9757-AE43CA3A9C09}" type="presParOf" srcId="{90A01073-DEF1-4695-A8CD-C3CA4C3F8F4E}" destId="{438524C5-830A-44CC-B78F-B124CAFB6947}" srcOrd="0" destOrd="0" presId="urn:microsoft.com/office/officeart/2005/8/layout/list1"/>
    <dgm:cxn modelId="{CF28F815-302F-4CBF-A195-077EDA83BFD4}" type="presParOf" srcId="{438524C5-830A-44CC-B78F-B124CAFB6947}" destId="{A22BE037-3D39-4F5D-8F74-0F53112C0321}" srcOrd="0" destOrd="0" presId="urn:microsoft.com/office/officeart/2005/8/layout/list1"/>
    <dgm:cxn modelId="{15C98C2F-9816-4BE7-A801-D69C1C8CD15D}" type="presParOf" srcId="{438524C5-830A-44CC-B78F-B124CAFB6947}" destId="{85788615-EA7E-4075-BFD0-11A49CFAF1C0}" srcOrd="1" destOrd="0" presId="urn:microsoft.com/office/officeart/2005/8/layout/list1"/>
    <dgm:cxn modelId="{21E0224C-56AC-4956-9560-E6B47C7C59B2}" type="presParOf" srcId="{90A01073-DEF1-4695-A8CD-C3CA4C3F8F4E}" destId="{ABC447AC-BF72-4CDB-8043-538BA128C83E}" srcOrd="1" destOrd="0" presId="urn:microsoft.com/office/officeart/2005/8/layout/list1"/>
    <dgm:cxn modelId="{0F8B3251-E8CC-4D41-8F35-E029797E93EF}" type="presParOf" srcId="{90A01073-DEF1-4695-A8CD-C3CA4C3F8F4E}" destId="{DBB9472C-420F-4D2B-A980-69113783ABD5}" srcOrd="2" destOrd="0" presId="urn:microsoft.com/office/officeart/2005/8/layout/list1"/>
    <dgm:cxn modelId="{FE940C74-9B40-484C-AA72-0A8EDBD72FEB}" type="presParOf" srcId="{90A01073-DEF1-4695-A8CD-C3CA4C3F8F4E}" destId="{5FE1673D-BD97-4476-8448-D812762F1C39}" srcOrd="3" destOrd="0" presId="urn:microsoft.com/office/officeart/2005/8/layout/list1"/>
    <dgm:cxn modelId="{CAFE7F4E-85F0-426A-815A-EE3164B14B4D}" type="presParOf" srcId="{90A01073-DEF1-4695-A8CD-C3CA4C3F8F4E}" destId="{0C8BBCDD-AC38-4A43-B43D-D4F37715E62C}" srcOrd="4" destOrd="0" presId="urn:microsoft.com/office/officeart/2005/8/layout/list1"/>
    <dgm:cxn modelId="{CA8DBAFF-8658-48DE-BA6E-3F28FEBD95FE}" type="presParOf" srcId="{0C8BBCDD-AC38-4A43-B43D-D4F37715E62C}" destId="{DEAC4395-D829-437D-94CA-DB72E3734475}" srcOrd="0" destOrd="0" presId="urn:microsoft.com/office/officeart/2005/8/layout/list1"/>
    <dgm:cxn modelId="{880A59E8-C660-49DB-B3F4-292C5B12025E}" type="presParOf" srcId="{0C8BBCDD-AC38-4A43-B43D-D4F37715E62C}" destId="{E5F66603-6492-49A3-B271-ED533C941B0E}" srcOrd="1" destOrd="0" presId="urn:microsoft.com/office/officeart/2005/8/layout/list1"/>
    <dgm:cxn modelId="{6C293655-BFD5-4A0F-9707-029018B809BE}" type="presParOf" srcId="{90A01073-DEF1-4695-A8CD-C3CA4C3F8F4E}" destId="{828F2E07-9280-40E5-9376-BF1155CA3149}" srcOrd="5" destOrd="0" presId="urn:microsoft.com/office/officeart/2005/8/layout/list1"/>
    <dgm:cxn modelId="{470F13A8-5AD3-40A8-99C0-A66A843E377F}" type="presParOf" srcId="{90A01073-DEF1-4695-A8CD-C3CA4C3F8F4E}" destId="{3F11C419-1C04-4A3E-AF33-3215D40C8532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81F8DB-F468-4480-A589-6A9F62DDBC1E}">
      <dsp:nvSpPr>
        <dsp:cNvPr id="0" name=""/>
        <dsp:cNvSpPr/>
      </dsp:nvSpPr>
      <dsp:spPr>
        <a:xfrm>
          <a:off x="0" y="341312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Contact with the criminal system</a:t>
          </a:r>
        </a:p>
      </dsp:txBody>
      <dsp:txXfrm>
        <a:off x="0" y="341312"/>
        <a:ext cx="3286125" cy="1971675"/>
      </dsp:txXfrm>
    </dsp:sp>
    <dsp:sp modelId="{4F0C95E3-4CC3-497F-90CD-234FE2807CF1}">
      <dsp:nvSpPr>
        <dsp:cNvPr id="0" name=""/>
        <dsp:cNvSpPr/>
      </dsp:nvSpPr>
      <dsp:spPr>
        <a:xfrm>
          <a:off x="3614737" y="341312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Applying for a benefit at United States Citizenship and Immigration Services (USCIS), </a:t>
          </a:r>
          <a:r>
            <a:rPr lang="en-US" sz="2100" b="1" i="1" kern="1200"/>
            <a:t>while having a removal order or criminal charge</a:t>
          </a:r>
          <a:endParaRPr lang="en-US" sz="2100" kern="1200"/>
        </a:p>
      </dsp:txBody>
      <dsp:txXfrm>
        <a:off x="3614737" y="341312"/>
        <a:ext cx="3286125" cy="1971675"/>
      </dsp:txXfrm>
    </dsp:sp>
    <dsp:sp modelId="{86D7EC9E-668F-4F44-A5AC-35A0FCE72EEC}">
      <dsp:nvSpPr>
        <dsp:cNvPr id="0" name=""/>
        <dsp:cNvSpPr/>
      </dsp:nvSpPr>
      <dsp:spPr>
        <a:xfrm>
          <a:off x="7229475" y="341312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Green card &amp; Visa holders returning from travel: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CBP must show either Immigrant intent OR Fraud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/>
            <a:t>A visa holder is subject to expedited removal</a:t>
          </a:r>
        </a:p>
      </dsp:txBody>
      <dsp:txXfrm>
        <a:off x="7229475" y="341312"/>
        <a:ext cx="3286125" cy="1971675"/>
      </dsp:txXfrm>
    </dsp:sp>
    <dsp:sp modelId="{D4D0405F-7778-4DA6-86B4-DA17AB7734A4}">
      <dsp:nvSpPr>
        <dsp:cNvPr id="0" name=""/>
        <dsp:cNvSpPr/>
      </dsp:nvSpPr>
      <dsp:spPr>
        <a:xfrm>
          <a:off x="0" y="2641600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Raids &amp; targeted enforcement</a:t>
          </a:r>
        </a:p>
      </dsp:txBody>
      <dsp:txXfrm>
        <a:off x="0" y="2641600"/>
        <a:ext cx="3286125" cy="1971675"/>
      </dsp:txXfrm>
    </dsp:sp>
    <dsp:sp modelId="{CC2E91B9-240E-4782-A196-70EB871FE532}">
      <dsp:nvSpPr>
        <dsp:cNvPr id="0" name=""/>
        <dsp:cNvSpPr/>
      </dsp:nvSpPr>
      <dsp:spPr>
        <a:xfrm>
          <a:off x="3614737" y="2641600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Attending an ICE appointment</a:t>
          </a:r>
        </a:p>
      </dsp:txBody>
      <dsp:txXfrm>
        <a:off x="3614737" y="2641600"/>
        <a:ext cx="3286125" cy="1971675"/>
      </dsp:txXfrm>
    </dsp:sp>
    <dsp:sp modelId="{707AA9D7-8B9F-4B2A-BA42-AF4D881D5474}">
      <dsp:nvSpPr>
        <dsp:cNvPr id="0" name=""/>
        <dsp:cNvSpPr/>
      </dsp:nvSpPr>
      <dsp:spPr>
        <a:xfrm>
          <a:off x="7229475" y="2641600"/>
          <a:ext cx="3286125" cy="1971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Responding to an email/text/letter from ICE				</a:t>
          </a:r>
        </a:p>
      </dsp:txBody>
      <dsp:txXfrm>
        <a:off x="7229475" y="2641600"/>
        <a:ext cx="3286125" cy="19716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EB168A-A0BB-4391-8919-A4D2672A5166}">
      <dsp:nvSpPr>
        <dsp:cNvPr id="0" name=""/>
        <dsp:cNvSpPr/>
      </dsp:nvSpPr>
      <dsp:spPr>
        <a:xfrm>
          <a:off x="2000319" y="2250172"/>
          <a:ext cx="251402" cy="13512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5701" y="0"/>
              </a:lnTo>
              <a:lnTo>
                <a:pt x="125701" y="1351286"/>
              </a:lnTo>
              <a:lnTo>
                <a:pt x="251402" y="1351286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3DE174-CC31-42B4-ABD6-69B51FD226B4}">
      <dsp:nvSpPr>
        <dsp:cNvPr id="0" name=""/>
        <dsp:cNvSpPr/>
      </dsp:nvSpPr>
      <dsp:spPr>
        <a:xfrm>
          <a:off x="2000319" y="2250172"/>
          <a:ext cx="251402" cy="81077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5701" y="0"/>
              </a:lnTo>
              <a:lnTo>
                <a:pt x="125701" y="810772"/>
              </a:lnTo>
              <a:lnTo>
                <a:pt x="251402" y="810772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AD2B1B-BB2C-4CA8-9682-321109220A02}">
      <dsp:nvSpPr>
        <dsp:cNvPr id="0" name=""/>
        <dsp:cNvSpPr/>
      </dsp:nvSpPr>
      <dsp:spPr>
        <a:xfrm>
          <a:off x="2000319" y="2250172"/>
          <a:ext cx="251402" cy="27025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25701" y="0"/>
              </a:lnTo>
              <a:lnTo>
                <a:pt x="125701" y="270257"/>
              </a:lnTo>
              <a:lnTo>
                <a:pt x="251402" y="270257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8F27342-78A8-4A5B-A680-55EC4EE21264}">
      <dsp:nvSpPr>
        <dsp:cNvPr id="0" name=""/>
        <dsp:cNvSpPr/>
      </dsp:nvSpPr>
      <dsp:spPr>
        <a:xfrm>
          <a:off x="2000319" y="1979915"/>
          <a:ext cx="251402" cy="270257"/>
        </a:xfrm>
        <a:custGeom>
          <a:avLst/>
          <a:gdLst/>
          <a:ahLst/>
          <a:cxnLst/>
          <a:rect l="0" t="0" r="0" b="0"/>
          <a:pathLst>
            <a:path>
              <a:moveTo>
                <a:pt x="0" y="270257"/>
              </a:moveTo>
              <a:lnTo>
                <a:pt x="125701" y="270257"/>
              </a:lnTo>
              <a:lnTo>
                <a:pt x="125701" y="0"/>
              </a:lnTo>
              <a:lnTo>
                <a:pt x="251402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EA4249-A6F3-43DD-B414-26EAA8CA6B16}">
      <dsp:nvSpPr>
        <dsp:cNvPr id="0" name=""/>
        <dsp:cNvSpPr/>
      </dsp:nvSpPr>
      <dsp:spPr>
        <a:xfrm>
          <a:off x="2000319" y="1439400"/>
          <a:ext cx="251402" cy="810772"/>
        </a:xfrm>
        <a:custGeom>
          <a:avLst/>
          <a:gdLst/>
          <a:ahLst/>
          <a:cxnLst/>
          <a:rect l="0" t="0" r="0" b="0"/>
          <a:pathLst>
            <a:path>
              <a:moveTo>
                <a:pt x="0" y="810772"/>
              </a:moveTo>
              <a:lnTo>
                <a:pt x="125701" y="810772"/>
              </a:lnTo>
              <a:lnTo>
                <a:pt x="125701" y="0"/>
              </a:lnTo>
              <a:lnTo>
                <a:pt x="251402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9567D9-5D54-421E-BD48-4A779E5907AE}">
      <dsp:nvSpPr>
        <dsp:cNvPr id="0" name=""/>
        <dsp:cNvSpPr/>
      </dsp:nvSpPr>
      <dsp:spPr>
        <a:xfrm>
          <a:off x="2000319" y="898886"/>
          <a:ext cx="251402" cy="1351286"/>
        </a:xfrm>
        <a:custGeom>
          <a:avLst/>
          <a:gdLst/>
          <a:ahLst/>
          <a:cxnLst/>
          <a:rect l="0" t="0" r="0" b="0"/>
          <a:pathLst>
            <a:path>
              <a:moveTo>
                <a:pt x="0" y="1351286"/>
              </a:moveTo>
              <a:lnTo>
                <a:pt x="125701" y="1351286"/>
              </a:lnTo>
              <a:lnTo>
                <a:pt x="125701" y="0"/>
              </a:lnTo>
              <a:lnTo>
                <a:pt x="251402" y="0"/>
              </a:lnTo>
            </a:path>
          </a:pathLst>
        </a:custGeom>
        <a:noFill/>
        <a:ln w="9525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E117A49-4EAE-41ED-842D-B175378B540F}">
      <dsp:nvSpPr>
        <dsp:cNvPr id="0" name=""/>
        <dsp:cNvSpPr/>
      </dsp:nvSpPr>
      <dsp:spPr>
        <a:xfrm>
          <a:off x="743308" y="2970"/>
          <a:ext cx="1257010" cy="144079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People must fall under a ground of deportation or grounds of inadmissibility. </a:t>
          </a:r>
        </a:p>
      </dsp:txBody>
      <dsp:txXfrm>
        <a:off x="743308" y="2970"/>
        <a:ext cx="1257010" cy="1440796"/>
      </dsp:txXfrm>
    </dsp:sp>
    <dsp:sp modelId="{3A2DD7D4-0025-4538-8E50-7B1D1275730A}">
      <dsp:nvSpPr>
        <dsp:cNvPr id="0" name=""/>
        <dsp:cNvSpPr/>
      </dsp:nvSpPr>
      <dsp:spPr>
        <a:xfrm>
          <a:off x="743308" y="1600893"/>
          <a:ext cx="1257010" cy="129855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i="1" kern="1200"/>
            <a:t>Generally,</a:t>
          </a:r>
          <a:r>
            <a:rPr lang="en-US" sz="1100" kern="1200"/>
            <a:t> this means:</a:t>
          </a:r>
        </a:p>
      </dsp:txBody>
      <dsp:txXfrm>
        <a:off x="743308" y="1600893"/>
        <a:ext cx="1257010" cy="1298559"/>
      </dsp:txXfrm>
    </dsp:sp>
    <dsp:sp modelId="{752B40B5-1C64-41B3-87CB-4D8CEE7E4EDB}">
      <dsp:nvSpPr>
        <dsp:cNvPr id="0" name=""/>
        <dsp:cNvSpPr/>
      </dsp:nvSpPr>
      <dsp:spPr>
        <a:xfrm>
          <a:off x="2251721" y="707191"/>
          <a:ext cx="3182500" cy="3833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Unauthorized / Undocumented immigrants </a:t>
          </a:r>
        </a:p>
      </dsp:txBody>
      <dsp:txXfrm>
        <a:off x="2251721" y="707191"/>
        <a:ext cx="3182500" cy="383388"/>
      </dsp:txXfrm>
    </dsp:sp>
    <dsp:sp modelId="{8B77CCCB-8F8A-46F7-920F-C3759D6968F3}">
      <dsp:nvSpPr>
        <dsp:cNvPr id="0" name=""/>
        <dsp:cNvSpPr/>
      </dsp:nvSpPr>
      <dsp:spPr>
        <a:xfrm>
          <a:off x="2251721" y="1247706"/>
          <a:ext cx="4245856" cy="3833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Various grounds including drug trafficker, human trafficker, false claim to USC</a:t>
          </a:r>
        </a:p>
      </dsp:txBody>
      <dsp:txXfrm>
        <a:off x="2251721" y="1247706"/>
        <a:ext cx="4245856" cy="383388"/>
      </dsp:txXfrm>
    </dsp:sp>
    <dsp:sp modelId="{DBDB1B21-8824-4972-B156-BC61951D5023}">
      <dsp:nvSpPr>
        <dsp:cNvPr id="0" name=""/>
        <dsp:cNvSpPr/>
      </dsp:nvSpPr>
      <dsp:spPr>
        <a:xfrm>
          <a:off x="2251721" y="1788221"/>
          <a:ext cx="4592967" cy="3833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Lawful permanent residents with criminal charges  (green card holders)</a:t>
          </a:r>
        </a:p>
      </dsp:txBody>
      <dsp:txXfrm>
        <a:off x="2251721" y="1788221"/>
        <a:ext cx="4592967" cy="383388"/>
      </dsp:txXfrm>
    </dsp:sp>
    <dsp:sp modelId="{89F2E012-2B95-4203-A375-FE15264D9B17}">
      <dsp:nvSpPr>
        <dsp:cNvPr id="0" name=""/>
        <dsp:cNvSpPr/>
      </dsp:nvSpPr>
      <dsp:spPr>
        <a:xfrm>
          <a:off x="2251721" y="2328736"/>
          <a:ext cx="5908328" cy="3833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xpedited Removal from </a:t>
          </a:r>
          <a:r>
            <a:rPr lang="en-US" sz="1100" kern="1200">
              <a:latin typeface="Arial"/>
            </a:rPr>
            <a:t>Interior</a:t>
          </a:r>
          <a:endParaRPr lang="en-US" sz="1100" kern="1200"/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 (less than 2 years presence, lacking status &amp; removal proceedings)</a:t>
          </a:r>
        </a:p>
      </dsp:txBody>
      <dsp:txXfrm>
        <a:off x="2251721" y="2328736"/>
        <a:ext cx="5908328" cy="383388"/>
      </dsp:txXfrm>
    </dsp:sp>
    <dsp:sp modelId="{E25A3F04-708F-46B0-8ADE-B62F3482CA26}">
      <dsp:nvSpPr>
        <dsp:cNvPr id="0" name=""/>
        <dsp:cNvSpPr/>
      </dsp:nvSpPr>
      <dsp:spPr>
        <a:xfrm>
          <a:off x="2251721" y="2869250"/>
          <a:ext cx="7421568" cy="3833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Expedited Removal at Border</a:t>
          </a:r>
        </a:p>
      </dsp:txBody>
      <dsp:txXfrm>
        <a:off x="2251721" y="2869250"/>
        <a:ext cx="7421568" cy="383388"/>
      </dsp:txXfrm>
    </dsp:sp>
    <dsp:sp modelId="{953C6BB5-A6FF-4C5A-B56D-562A07A09D41}">
      <dsp:nvSpPr>
        <dsp:cNvPr id="0" name=""/>
        <dsp:cNvSpPr/>
      </dsp:nvSpPr>
      <dsp:spPr>
        <a:xfrm>
          <a:off x="2251721" y="3409765"/>
          <a:ext cx="8152394" cy="38338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Someone who did not go to an immigration court hearing or has final order of removal</a:t>
          </a:r>
        </a:p>
      </dsp:txBody>
      <dsp:txXfrm>
        <a:off x="2251721" y="3409765"/>
        <a:ext cx="8152394" cy="383388"/>
      </dsp:txXfrm>
    </dsp:sp>
    <dsp:sp modelId="{B3E399A4-0759-4F12-8E46-1029FA6B38A8}">
      <dsp:nvSpPr>
        <dsp:cNvPr id="0" name=""/>
        <dsp:cNvSpPr/>
      </dsp:nvSpPr>
      <dsp:spPr>
        <a:xfrm>
          <a:off x="743308" y="3056578"/>
          <a:ext cx="1257010" cy="1895038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Not everyone who is not a citizen is subject to removal.</a:t>
          </a:r>
        </a:p>
      </dsp:txBody>
      <dsp:txXfrm>
        <a:off x="743308" y="3056578"/>
        <a:ext cx="1257010" cy="18950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519C8E-2B5A-431D-A02E-C8B509DDB7BB}">
      <dsp:nvSpPr>
        <dsp:cNvPr id="0" name=""/>
        <dsp:cNvSpPr/>
      </dsp:nvSpPr>
      <dsp:spPr>
        <a:xfrm rot="16200000">
          <a:off x="2201" y="1947"/>
          <a:ext cx="4348648" cy="4348648"/>
        </a:xfrm>
        <a:prstGeom prst="downArrow">
          <a:avLst>
            <a:gd name="adj1" fmla="val 50000"/>
            <a:gd name="adj2" fmla="val 3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It is not a crime to be in the United States without proper documentation:  </a:t>
          </a:r>
          <a:endParaRPr lang="en-US" sz="1900" kern="1200"/>
        </a:p>
      </dsp:txBody>
      <dsp:txXfrm rot="5400000">
        <a:off x="2202" y="1089108"/>
        <a:ext cx="3587635" cy="2174324"/>
      </dsp:txXfrm>
    </dsp:sp>
    <dsp:sp modelId="{2799BE71-FB1A-40DA-8809-171893EAC0EE}">
      <dsp:nvSpPr>
        <dsp:cNvPr id="0" name=""/>
        <dsp:cNvSpPr/>
      </dsp:nvSpPr>
      <dsp:spPr>
        <a:xfrm rot="5400000">
          <a:off x="6251568" y="1947"/>
          <a:ext cx="4348648" cy="4348648"/>
        </a:xfrm>
        <a:prstGeom prst="downArrow">
          <a:avLst>
            <a:gd name="adj1" fmla="val 50000"/>
            <a:gd name="adj2" fmla="val 3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5128" tIns="135128" rIns="135128" bIns="135128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 baseline="0"/>
            <a:t>The United States Supreme Court has explained that, “[a]s a general rule, it is not a crime for a removable alien</a:t>
          </a:r>
          <a:r>
            <a:rPr lang="en-US" sz="1900" kern="1200"/>
            <a:t> </a:t>
          </a:r>
          <a:r>
            <a:rPr lang="en-US" sz="1900" b="0" i="0" kern="1200" baseline="0"/>
            <a:t>to remain </a:t>
          </a:r>
          <a:r>
            <a:rPr lang="en-US" sz="1900" b="0" i="0" strike="noStrike" kern="1200" baseline="0">
              <a:solidFill>
                <a:schemeClr val="bg1"/>
              </a:solidFill>
              <a:latin typeface="Arial"/>
            </a:rPr>
            <a:t>[</a:t>
          </a:r>
          <a:r>
            <a:rPr lang="en-US" sz="1900" b="0" i="0" strike="noStrike" kern="1200" baseline="0">
              <a:solidFill>
                <a:schemeClr val="bg1"/>
              </a:solidFill>
            </a:rPr>
            <a:t>present</a:t>
          </a:r>
          <a:r>
            <a:rPr lang="en-US" sz="1900" b="0" i="0" kern="1200" baseline="0">
              <a:latin typeface="Arial"/>
            </a:rPr>
            <a:t>]</a:t>
          </a:r>
          <a:r>
            <a:rPr lang="en-US" sz="1900" b="0" i="0" kern="1200" baseline="0"/>
            <a:t> in the United States,” </a:t>
          </a:r>
          <a:r>
            <a:rPr lang="en-US" sz="1900" b="0" i="0" u="sng" kern="1200" baseline="0"/>
            <a:t>Arizona</a:t>
          </a:r>
          <a:r>
            <a:rPr lang="en-US" sz="1900" b="0" i="0" kern="1200" baseline="0"/>
            <a:t> v. </a:t>
          </a:r>
          <a:r>
            <a:rPr lang="en-US" sz="1900" b="0" i="0" u="sng" kern="1200" baseline="0"/>
            <a:t>United States</a:t>
          </a:r>
          <a:r>
            <a:rPr lang="en-US" sz="1900" b="0" i="0" kern="1200" baseline="0"/>
            <a:t>, 567 U.S. 387 (2012) </a:t>
          </a:r>
          <a:r>
            <a:rPr lang="en-US" sz="1900" kern="1200"/>
            <a:t> </a:t>
          </a:r>
        </a:p>
      </dsp:txBody>
      <dsp:txXfrm rot="-5400000">
        <a:off x="7012582" y="1089109"/>
        <a:ext cx="3587635" cy="21743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442E5-0480-4D67-A9B6-FC1EF81D40E0}">
      <dsp:nvSpPr>
        <dsp:cNvPr id="0" name=""/>
        <dsp:cNvSpPr/>
      </dsp:nvSpPr>
      <dsp:spPr>
        <a:xfrm>
          <a:off x="5309389" y="1594876"/>
          <a:ext cx="4169160" cy="661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0711"/>
              </a:lnTo>
              <a:lnTo>
                <a:pt x="4169160" y="450711"/>
              </a:lnTo>
              <a:lnTo>
                <a:pt x="4169160" y="661380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723D73-C2E7-4FD8-ADBE-DA61FC12C1D6}">
      <dsp:nvSpPr>
        <dsp:cNvPr id="0" name=""/>
        <dsp:cNvSpPr/>
      </dsp:nvSpPr>
      <dsp:spPr>
        <a:xfrm>
          <a:off x="5309389" y="1594876"/>
          <a:ext cx="1389720" cy="6613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50711"/>
              </a:lnTo>
              <a:lnTo>
                <a:pt x="1389720" y="450711"/>
              </a:lnTo>
              <a:lnTo>
                <a:pt x="1389720" y="661380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8EFF5C2-974A-482D-B315-89178DA032F8}">
      <dsp:nvSpPr>
        <dsp:cNvPr id="0" name=""/>
        <dsp:cNvSpPr/>
      </dsp:nvSpPr>
      <dsp:spPr>
        <a:xfrm>
          <a:off x="3919669" y="1594876"/>
          <a:ext cx="1389720" cy="661380"/>
        </a:xfrm>
        <a:custGeom>
          <a:avLst/>
          <a:gdLst/>
          <a:ahLst/>
          <a:cxnLst/>
          <a:rect l="0" t="0" r="0" b="0"/>
          <a:pathLst>
            <a:path>
              <a:moveTo>
                <a:pt x="1389720" y="0"/>
              </a:moveTo>
              <a:lnTo>
                <a:pt x="1389720" y="450711"/>
              </a:lnTo>
              <a:lnTo>
                <a:pt x="0" y="450711"/>
              </a:lnTo>
              <a:lnTo>
                <a:pt x="0" y="661380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9F53CB-701F-4CE0-9C1F-325919DC8CC5}">
      <dsp:nvSpPr>
        <dsp:cNvPr id="0" name=""/>
        <dsp:cNvSpPr/>
      </dsp:nvSpPr>
      <dsp:spPr>
        <a:xfrm>
          <a:off x="1140228" y="1594876"/>
          <a:ext cx="4169160" cy="661380"/>
        </a:xfrm>
        <a:custGeom>
          <a:avLst/>
          <a:gdLst/>
          <a:ahLst/>
          <a:cxnLst/>
          <a:rect l="0" t="0" r="0" b="0"/>
          <a:pathLst>
            <a:path>
              <a:moveTo>
                <a:pt x="4169160" y="0"/>
              </a:moveTo>
              <a:lnTo>
                <a:pt x="4169160" y="450711"/>
              </a:lnTo>
              <a:lnTo>
                <a:pt x="0" y="450711"/>
              </a:lnTo>
              <a:lnTo>
                <a:pt x="0" y="661380"/>
              </a:lnTo>
            </a:path>
          </a:pathLst>
        </a:custGeom>
        <a:noFill/>
        <a:ln w="10795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09484F-110C-4DAD-8459-FF858CEDFAAF}">
      <dsp:nvSpPr>
        <dsp:cNvPr id="0" name=""/>
        <dsp:cNvSpPr/>
      </dsp:nvSpPr>
      <dsp:spPr>
        <a:xfrm>
          <a:off x="1392905" y="150831"/>
          <a:ext cx="2274087" cy="144404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22132C-7750-4561-952A-6FB5F348CE04}">
      <dsp:nvSpPr>
        <dsp:cNvPr id="0" name=""/>
        <dsp:cNvSpPr/>
      </dsp:nvSpPr>
      <dsp:spPr>
        <a:xfrm>
          <a:off x="1645581" y="390873"/>
          <a:ext cx="2274087" cy="14440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200" kern="1200"/>
            <a:t>Generally, law enforcement (including ICE) cannot conduct a search &amp; seizure without a warrant signed by a Judge based on probable cause subject to limited legal exceptions.</a:t>
          </a:r>
        </a:p>
      </dsp:txBody>
      <dsp:txXfrm>
        <a:off x="1687876" y="433168"/>
        <a:ext cx="2189497" cy="1359455"/>
      </dsp:txXfrm>
    </dsp:sp>
    <dsp:sp modelId="{7A96AD55-6363-401C-85D7-347585477A40}">
      <dsp:nvSpPr>
        <dsp:cNvPr id="0" name=""/>
        <dsp:cNvSpPr/>
      </dsp:nvSpPr>
      <dsp:spPr>
        <a:xfrm>
          <a:off x="4172345" y="150831"/>
          <a:ext cx="2274087" cy="144404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E64A39-2628-4E9B-AAF3-F94CDA2BB8DD}">
      <dsp:nvSpPr>
        <dsp:cNvPr id="0" name=""/>
        <dsp:cNvSpPr/>
      </dsp:nvSpPr>
      <dsp:spPr>
        <a:xfrm>
          <a:off x="4425021" y="390873"/>
          <a:ext cx="2274087" cy="14440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200" b="1" kern="1200"/>
            <a:t>Basis:</a:t>
          </a:r>
          <a:endParaRPr lang="en-US" sz="1200" kern="1200"/>
        </a:p>
      </dsp:txBody>
      <dsp:txXfrm>
        <a:off x="4467316" y="433168"/>
        <a:ext cx="2189497" cy="1359455"/>
      </dsp:txXfrm>
    </dsp:sp>
    <dsp:sp modelId="{1E57AB63-55E7-4B25-A411-DF93A272AA01}">
      <dsp:nvSpPr>
        <dsp:cNvPr id="0" name=""/>
        <dsp:cNvSpPr/>
      </dsp:nvSpPr>
      <dsp:spPr>
        <a:xfrm>
          <a:off x="3184" y="2256257"/>
          <a:ext cx="2274087" cy="144404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17A2AC-5FFF-49B0-BFF9-80679D00B498}">
      <dsp:nvSpPr>
        <dsp:cNvPr id="0" name=""/>
        <dsp:cNvSpPr/>
      </dsp:nvSpPr>
      <dsp:spPr>
        <a:xfrm>
          <a:off x="255861" y="2496300"/>
          <a:ext cx="2274087" cy="14440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U.S. Constitution, 4</a:t>
          </a:r>
          <a:r>
            <a:rPr lang="en-US" sz="1200" b="1" kern="1200" baseline="30000"/>
            <a:t>th</a:t>
          </a:r>
          <a:r>
            <a:rPr lang="en-US" sz="1200" b="1" kern="1200"/>
            <a:t> Amendment</a:t>
          </a:r>
        </a:p>
      </dsp:txBody>
      <dsp:txXfrm>
        <a:off x="298156" y="2538595"/>
        <a:ext cx="2189497" cy="1359455"/>
      </dsp:txXfrm>
    </dsp:sp>
    <dsp:sp modelId="{1F6B4568-1E48-4A9C-8A90-0242596B8B99}">
      <dsp:nvSpPr>
        <dsp:cNvPr id="0" name=""/>
        <dsp:cNvSpPr/>
      </dsp:nvSpPr>
      <dsp:spPr>
        <a:xfrm>
          <a:off x="2782625" y="2256257"/>
          <a:ext cx="2274087" cy="144404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152ABC-008C-405D-9054-C3C1745F9799}">
      <dsp:nvSpPr>
        <dsp:cNvPr id="0" name=""/>
        <dsp:cNvSpPr/>
      </dsp:nvSpPr>
      <dsp:spPr>
        <a:xfrm>
          <a:off x="3035301" y="2496300"/>
          <a:ext cx="2274087" cy="14440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Massachusetts Declaration of Rights, Article 14. </a:t>
          </a:r>
        </a:p>
      </dsp:txBody>
      <dsp:txXfrm>
        <a:off x="3077596" y="2538595"/>
        <a:ext cx="2189497" cy="1359455"/>
      </dsp:txXfrm>
    </dsp:sp>
    <dsp:sp modelId="{64E590B3-1FD1-475B-BA63-E3C8AD48393A}">
      <dsp:nvSpPr>
        <dsp:cNvPr id="0" name=""/>
        <dsp:cNvSpPr/>
      </dsp:nvSpPr>
      <dsp:spPr>
        <a:xfrm>
          <a:off x="5562065" y="2256257"/>
          <a:ext cx="2274087" cy="144404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6CE7C7-0EAD-4431-BDD7-04A8F8972D01}">
      <dsp:nvSpPr>
        <dsp:cNvPr id="0" name=""/>
        <dsp:cNvSpPr/>
      </dsp:nvSpPr>
      <dsp:spPr>
        <a:xfrm>
          <a:off x="5814742" y="2496300"/>
          <a:ext cx="2274087" cy="14440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M.G.L. c. 276, Sec. 1</a:t>
          </a:r>
        </a:p>
      </dsp:txBody>
      <dsp:txXfrm>
        <a:off x="5857037" y="2538595"/>
        <a:ext cx="2189497" cy="1359455"/>
      </dsp:txXfrm>
    </dsp:sp>
    <dsp:sp modelId="{25BD2D29-8D13-41C5-9DA1-4F65F629CADC}">
      <dsp:nvSpPr>
        <dsp:cNvPr id="0" name=""/>
        <dsp:cNvSpPr/>
      </dsp:nvSpPr>
      <dsp:spPr>
        <a:xfrm>
          <a:off x="8341506" y="2256257"/>
          <a:ext cx="2274087" cy="1444045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42988F-7A16-4F03-957E-139E31A71645}">
      <dsp:nvSpPr>
        <dsp:cNvPr id="0" name=""/>
        <dsp:cNvSpPr/>
      </dsp:nvSpPr>
      <dsp:spPr>
        <a:xfrm>
          <a:off x="8594182" y="2496300"/>
          <a:ext cx="2274087" cy="14440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1" kern="1200"/>
            <a:t>Lunn v. Commonwealth</a:t>
          </a:r>
          <a:r>
            <a:rPr lang="en-US" sz="1200" b="1" kern="1200"/>
            <a:t>,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i="0" kern="1200"/>
            <a:t>477 Mass. 517 (2017)</a:t>
          </a:r>
          <a:r>
            <a:rPr lang="en-US" sz="1200" b="1" kern="1200"/>
            <a:t> 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/>
            <a:t> </a:t>
          </a:r>
        </a:p>
      </dsp:txBody>
      <dsp:txXfrm>
        <a:off x="8636477" y="2538595"/>
        <a:ext cx="2189497" cy="135945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5C5F79-68C4-48EF-905D-3A282AC10FA9}">
      <dsp:nvSpPr>
        <dsp:cNvPr id="0" name=""/>
        <dsp:cNvSpPr/>
      </dsp:nvSpPr>
      <dsp:spPr>
        <a:xfrm rot="5400000">
          <a:off x="6197850" y="-2173985"/>
          <a:ext cx="1905514" cy="672998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A memo that prohibited ICE from conducting enforcement at </a:t>
          </a:r>
          <a:r>
            <a:rPr lang="en-US" sz="2900" kern="1200">
              <a:latin typeface="Arial"/>
            </a:rPr>
            <a:t>Churches</a:t>
          </a:r>
          <a:r>
            <a:rPr lang="en-US" sz="2900" kern="1200"/>
            <a:t>, Schools, Courts, Weddings and other “sensitive locations”</a:t>
          </a:r>
        </a:p>
      </dsp:txBody>
      <dsp:txXfrm rot="-5400000">
        <a:off x="3785615" y="331270"/>
        <a:ext cx="6636964" cy="1719474"/>
      </dsp:txXfrm>
    </dsp:sp>
    <dsp:sp modelId="{16F27CFA-7EEA-46EB-8D76-ED90A7B6F491}">
      <dsp:nvSpPr>
        <dsp:cNvPr id="0" name=""/>
        <dsp:cNvSpPr/>
      </dsp:nvSpPr>
      <dsp:spPr>
        <a:xfrm>
          <a:off x="0" y="59"/>
          <a:ext cx="3785616" cy="23818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What is the Sensitive Locations memo?</a:t>
          </a:r>
        </a:p>
      </dsp:txBody>
      <dsp:txXfrm>
        <a:off x="116274" y="116333"/>
        <a:ext cx="3553068" cy="2149345"/>
      </dsp:txXfrm>
    </dsp:sp>
    <dsp:sp modelId="{C6F0B7C6-767E-4C52-B852-F8F9554A6C0E}">
      <dsp:nvSpPr>
        <dsp:cNvPr id="0" name=""/>
        <dsp:cNvSpPr/>
      </dsp:nvSpPr>
      <dsp:spPr>
        <a:xfrm rot="5400000">
          <a:off x="6197850" y="327002"/>
          <a:ext cx="1905514" cy="672998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55245" rIns="110490" bIns="55245" numCol="1" spcCol="1270" anchor="ctr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DHS withdrew the memo on January 24, 2025</a:t>
          </a:r>
        </a:p>
      </dsp:txBody>
      <dsp:txXfrm rot="-5400000">
        <a:off x="3785615" y="2832257"/>
        <a:ext cx="6636964" cy="1719474"/>
      </dsp:txXfrm>
    </dsp:sp>
    <dsp:sp modelId="{A5D5F9F1-9FD3-45BA-A17A-4F4E2EB19124}">
      <dsp:nvSpPr>
        <dsp:cNvPr id="0" name=""/>
        <dsp:cNvSpPr/>
      </dsp:nvSpPr>
      <dsp:spPr>
        <a:xfrm>
          <a:off x="0" y="2501047"/>
          <a:ext cx="3785616" cy="2381893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What happened to the Sensitive Locations Memo?</a:t>
          </a:r>
        </a:p>
      </dsp:txBody>
      <dsp:txXfrm>
        <a:off x="116274" y="2617321"/>
        <a:ext cx="3553068" cy="214934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4C422A-FCC5-4C47-924F-A942BB06AE99}">
      <dsp:nvSpPr>
        <dsp:cNvPr id="0" name=""/>
        <dsp:cNvSpPr/>
      </dsp:nvSpPr>
      <dsp:spPr>
        <a:xfrm>
          <a:off x="2054031" y="2269"/>
          <a:ext cx="8216124" cy="11757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9416" tIns="298632" rIns="159416" bIns="29863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Consult with your organization's attorney to review your school’s privacy and visitors' policies </a:t>
          </a:r>
        </a:p>
      </dsp:txBody>
      <dsp:txXfrm>
        <a:off x="2054031" y="2269"/>
        <a:ext cx="8216124" cy="1175716"/>
      </dsp:txXfrm>
    </dsp:sp>
    <dsp:sp modelId="{71A0F45C-C18F-43BF-8648-103D9A1D0630}">
      <dsp:nvSpPr>
        <dsp:cNvPr id="0" name=""/>
        <dsp:cNvSpPr/>
      </dsp:nvSpPr>
      <dsp:spPr>
        <a:xfrm>
          <a:off x="0" y="2269"/>
          <a:ext cx="2054031" cy="117571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8692" tIns="116135" rIns="108692" bIns="116135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/>
            <a:t>Consult</a:t>
          </a:r>
        </a:p>
      </dsp:txBody>
      <dsp:txXfrm>
        <a:off x="0" y="2269"/>
        <a:ext cx="2054031" cy="1175716"/>
      </dsp:txXfrm>
    </dsp:sp>
    <dsp:sp modelId="{705CB073-E3E8-4D8D-B851-AEABE560DA1B}">
      <dsp:nvSpPr>
        <dsp:cNvPr id="0" name=""/>
        <dsp:cNvSpPr/>
      </dsp:nvSpPr>
      <dsp:spPr>
        <a:xfrm>
          <a:off x="2053250" y="1254054"/>
          <a:ext cx="8216124" cy="11757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9416" tIns="298632" rIns="159416" bIns="29863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Designate an administrator or supervisor staff may contact</a:t>
          </a:r>
          <a:r>
            <a:rPr lang="en-US" sz="1600" kern="1200"/>
            <a:t> </a:t>
          </a:r>
        </a:p>
      </dsp:txBody>
      <dsp:txXfrm>
        <a:off x="2053250" y="1254054"/>
        <a:ext cx="8216124" cy="1175716"/>
      </dsp:txXfrm>
    </dsp:sp>
    <dsp:sp modelId="{4134A11C-B371-496A-986C-263633D9E7C0}">
      <dsp:nvSpPr>
        <dsp:cNvPr id="0" name=""/>
        <dsp:cNvSpPr/>
      </dsp:nvSpPr>
      <dsp:spPr>
        <a:xfrm>
          <a:off x="0" y="1248528"/>
          <a:ext cx="2054031" cy="117571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8692" tIns="116135" rIns="108692" bIns="116135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/>
            <a:t>Designate</a:t>
          </a:r>
        </a:p>
      </dsp:txBody>
      <dsp:txXfrm>
        <a:off x="0" y="1248528"/>
        <a:ext cx="2054031" cy="1175716"/>
      </dsp:txXfrm>
    </dsp:sp>
    <dsp:sp modelId="{ACB32CE5-DD4C-4EF8-8941-1671E41F80C9}">
      <dsp:nvSpPr>
        <dsp:cNvPr id="0" name=""/>
        <dsp:cNvSpPr/>
      </dsp:nvSpPr>
      <dsp:spPr>
        <a:xfrm>
          <a:off x="2054031" y="2494787"/>
          <a:ext cx="8216124" cy="11757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9416" tIns="298632" rIns="159416" bIns="29863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Consider student confidentiality and any notice requirements when responding to record requests</a:t>
          </a:r>
        </a:p>
      </dsp:txBody>
      <dsp:txXfrm>
        <a:off x="2054031" y="2494787"/>
        <a:ext cx="8216124" cy="1175716"/>
      </dsp:txXfrm>
    </dsp:sp>
    <dsp:sp modelId="{EA41A29E-15F9-4421-A139-2A754130BE24}">
      <dsp:nvSpPr>
        <dsp:cNvPr id="0" name=""/>
        <dsp:cNvSpPr/>
      </dsp:nvSpPr>
      <dsp:spPr>
        <a:xfrm>
          <a:off x="0" y="2494787"/>
          <a:ext cx="2054031" cy="117571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8692" tIns="116135" rIns="108692" bIns="116135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/>
            <a:t>Consider</a:t>
          </a:r>
        </a:p>
      </dsp:txBody>
      <dsp:txXfrm>
        <a:off x="0" y="2494787"/>
        <a:ext cx="2054031" cy="1175716"/>
      </dsp:txXfrm>
    </dsp:sp>
    <dsp:sp modelId="{793702B3-A599-4867-B795-7FD3E226EF0A}">
      <dsp:nvSpPr>
        <dsp:cNvPr id="0" name=""/>
        <dsp:cNvSpPr/>
      </dsp:nvSpPr>
      <dsp:spPr>
        <a:xfrm>
          <a:off x="2054031" y="3741047"/>
          <a:ext cx="8216124" cy="117571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1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9416" tIns="298632" rIns="159416" bIns="29863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Consider your response to immigration efforts based upon the documentation provided</a:t>
          </a:r>
        </a:p>
      </dsp:txBody>
      <dsp:txXfrm>
        <a:off x="2054031" y="3741047"/>
        <a:ext cx="8216124" cy="1175716"/>
      </dsp:txXfrm>
    </dsp:sp>
    <dsp:sp modelId="{74585066-38F4-46B0-B70C-F41314F9E5D5}">
      <dsp:nvSpPr>
        <dsp:cNvPr id="0" name=""/>
        <dsp:cNvSpPr/>
      </dsp:nvSpPr>
      <dsp:spPr>
        <a:xfrm>
          <a:off x="0" y="3741047"/>
          <a:ext cx="2054031" cy="117571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08692" tIns="116135" rIns="108692" bIns="116135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/>
            <a:t>Consider</a:t>
          </a:r>
        </a:p>
      </dsp:txBody>
      <dsp:txXfrm>
        <a:off x="0" y="3741047"/>
        <a:ext cx="2054031" cy="1175716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93D239-7123-46DD-8F40-9EF87A104396}">
      <dsp:nvSpPr>
        <dsp:cNvPr id="0" name=""/>
        <dsp:cNvSpPr/>
      </dsp:nvSpPr>
      <dsp:spPr>
        <a:xfrm>
          <a:off x="0" y="258524"/>
          <a:ext cx="5438774" cy="43407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22109" tIns="541528" rIns="422109" bIns="184912" numCol="1" spcCol="1270" anchor="t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b="1" kern="1200"/>
            <a:t>MIRA:</a:t>
          </a:r>
          <a:endParaRPr lang="en-US" sz="2600" kern="1200"/>
        </a:p>
        <a:p>
          <a:pPr marL="457200" lvl="2" indent="-228600" algn="l" defTabSz="11557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u="sng" kern="1200">
              <a:latin typeface="Arial"/>
              <a:hlinkClick xmlns:r="http://schemas.openxmlformats.org/officeDocument/2006/relationships" r:id="rId1"/>
            </a:rPr>
            <a:t>Email training</a:t>
          </a:r>
          <a:r>
            <a:rPr lang="en-US" sz="2600" u="sng" kern="1200">
              <a:hlinkClick xmlns:r="http://schemas.openxmlformats.org/officeDocument/2006/relationships" r:id="rId1"/>
            </a:rPr>
            <a:t>@miracoalition.org</a:t>
          </a:r>
          <a:r>
            <a:rPr lang="en-US" sz="2600" kern="1200"/>
            <a:t> for KYR </a:t>
          </a:r>
          <a:r>
            <a:rPr lang="en-US" sz="2600" kern="1200">
              <a:latin typeface="Arial"/>
            </a:rPr>
            <a:t>Presentation Requests</a:t>
          </a:r>
          <a:endParaRPr lang="en-US" sz="2600" kern="120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b="1" kern="1200"/>
            <a:t>PAIR Project:</a:t>
          </a:r>
          <a:endParaRPr lang="en-US" sz="2600" kern="1200"/>
        </a:p>
        <a:p>
          <a:pPr marL="457200" lvl="2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600" kern="1200"/>
            <a:t>Email Julia Ciachurski at </a:t>
          </a:r>
          <a:r>
            <a:rPr lang="en-US" sz="2600" u="sng" kern="1200">
              <a:hlinkClick xmlns:r="http://schemas.openxmlformats.org/officeDocument/2006/relationships" r:id="rId2"/>
            </a:rPr>
            <a:t>jciachurski@pairproject.org</a:t>
          </a:r>
          <a:r>
            <a:rPr lang="en-US" sz="2600" kern="1200"/>
            <a:t> for KYR Presentation Requests</a:t>
          </a:r>
        </a:p>
      </dsp:txBody>
      <dsp:txXfrm>
        <a:off x="0" y="258524"/>
        <a:ext cx="5438774" cy="4340700"/>
      </dsp:txXfrm>
    </dsp:sp>
    <dsp:sp modelId="{3331CD0B-D1D9-4235-B366-FE6E57AF9A42}">
      <dsp:nvSpPr>
        <dsp:cNvPr id="0" name=""/>
        <dsp:cNvSpPr/>
      </dsp:nvSpPr>
      <dsp:spPr>
        <a:xfrm>
          <a:off x="258926" y="259192"/>
          <a:ext cx="5178515" cy="383092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3901" tIns="0" rIns="143901" bIns="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Contacts:</a:t>
          </a:r>
        </a:p>
      </dsp:txBody>
      <dsp:txXfrm>
        <a:off x="277627" y="277893"/>
        <a:ext cx="5141113" cy="34569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B9472C-420F-4D2B-A980-69113783ABD5}">
      <dsp:nvSpPr>
        <dsp:cNvPr id="0" name=""/>
        <dsp:cNvSpPr/>
      </dsp:nvSpPr>
      <dsp:spPr>
        <a:xfrm>
          <a:off x="0" y="428737"/>
          <a:ext cx="11082528" cy="2608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0127" tIns="479044" rIns="860127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0" i="0" kern="1200" baseline="0"/>
            <a:t>Massachusetts Legal Resource Finder: </a:t>
          </a:r>
          <a:r>
            <a:rPr lang="en-US" sz="2300" b="0" i="0" u="sng" kern="1200" baseline="0">
              <a:hlinkClick xmlns:r="http://schemas.openxmlformats.org/officeDocument/2006/relationships" r:id="rId1"/>
            </a:rPr>
            <a:t>https://masslrf.org/en/home</a:t>
          </a:r>
          <a:r>
            <a:rPr lang="en-US" sz="2300" b="0" i="0" u="sng" kern="1200" baseline="0"/>
            <a:t> </a:t>
          </a:r>
          <a:r>
            <a:rPr lang="en-US" sz="2300" b="0" i="0" kern="1200" baseline="0"/>
            <a:t> </a:t>
          </a:r>
          <a:endParaRPr lang="en-US" sz="2300" kern="120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0" i="0" kern="1200" baseline="0"/>
            <a:t>Immigration court list of legal services: </a:t>
          </a:r>
          <a:r>
            <a:rPr lang="en-US" sz="2300" b="0" i="0" u="sng" kern="1200" baseline="0">
              <a:hlinkClick xmlns:r="http://schemas.openxmlformats.org/officeDocument/2006/relationships" r:id="rId2"/>
            </a:rPr>
            <a:t>https://www.justice.gov/eoir/file/ProBonoMA/download</a:t>
          </a:r>
          <a:endParaRPr lang="en-US" sz="2300" kern="120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0" i="0" kern="1200" baseline="0"/>
            <a:t>City of Boston free consultations:</a:t>
          </a:r>
          <a:endParaRPr lang="en-US" sz="2300" kern="120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0" i="0" kern="1200">
              <a:hlinkClick xmlns:r="http://schemas.openxmlformats.org/officeDocument/2006/relationships" r:id="rId3" tooltip="https://www.boston.gov/departments/immigrant-advancement/free-immigration-consultations"/>
            </a:rPr>
            <a:t>https://www.boston.gov/departments/immigrant-advancement/free-immigration-consultations</a:t>
          </a:r>
          <a:r>
            <a:rPr lang="en-US" sz="2300" b="0" i="0" kern="1200"/>
            <a:t>.</a:t>
          </a:r>
          <a:endParaRPr lang="en-US" sz="2300" kern="1200"/>
        </a:p>
      </dsp:txBody>
      <dsp:txXfrm>
        <a:off x="0" y="428737"/>
        <a:ext cx="11082528" cy="2608200"/>
      </dsp:txXfrm>
    </dsp:sp>
    <dsp:sp modelId="{85788615-EA7E-4075-BFD0-11A49CFAF1C0}">
      <dsp:nvSpPr>
        <dsp:cNvPr id="0" name=""/>
        <dsp:cNvSpPr/>
      </dsp:nvSpPr>
      <dsp:spPr>
        <a:xfrm>
          <a:off x="554126" y="89257"/>
          <a:ext cx="7757769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225" tIns="0" rIns="293225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0" i="0" kern="1200" baseline="0"/>
            <a:t>Legal Services Directory in Massachusetts:</a:t>
          </a:r>
          <a:endParaRPr lang="en-US" sz="2300" kern="1200"/>
        </a:p>
      </dsp:txBody>
      <dsp:txXfrm>
        <a:off x="587270" y="122401"/>
        <a:ext cx="7691481" cy="612672"/>
      </dsp:txXfrm>
    </dsp:sp>
    <dsp:sp modelId="{3F11C419-1C04-4A3E-AF33-3215D40C8532}">
      <dsp:nvSpPr>
        <dsp:cNvPr id="0" name=""/>
        <dsp:cNvSpPr/>
      </dsp:nvSpPr>
      <dsp:spPr>
        <a:xfrm>
          <a:off x="0" y="3500617"/>
          <a:ext cx="11082528" cy="12678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0127" tIns="479044" rIns="860127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b="0" i="0" kern="1200" baseline="0"/>
            <a:t>Immigration Advocates Network Legal Directory: </a:t>
          </a:r>
          <a:r>
            <a:rPr lang="en-US" sz="2300" b="0" i="0" u="sng" kern="1200" baseline="0">
              <a:hlinkClick xmlns:r="http://schemas.openxmlformats.org/officeDocument/2006/relationships" r:id="rId4"/>
            </a:rPr>
            <a:t>https://www.immigrationadvocates.org/legaldirectory/</a:t>
          </a:r>
          <a:r>
            <a:rPr lang="en-US" sz="2300" b="0" i="0" kern="1200" baseline="0"/>
            <a:t>  </a:t>
          </a:r>
          <a:endParaRPr lang="en-US" sz="2300" kern="1200"/>
        </a:p>
      </dsp:txBody>
      <dsp:txXfrm>
        <a:off x="0" y="3500617"/>
        <a:ext cx="11082528" cy="1267875"/>
      </dsp:txXfrm>
    </dsp:sp>
    <dsp:sp modelId="{E5F66603-6492-49A3-B271-ED533C941B0E}">
      <dsp:nvSpPr>
        <dsp:cNvPr id="0" name=""/>
        <dsp:cNvSpPr/>
      </dsp:nvSpPr>
      <dsp:spPr>
        <a:xfrm>
          <a:off x="554126" y="3161137"/>
          <a:ext cx="7757769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225" tIns="0" rIns="293225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b="0" i="0" kern="1200" baseline="0"/>
            <a:t>Legal Services Directory Outside of Massachusetts:</a:t>
          </a:r>
          <a:endParaRPr lang="en-US" sz="2300" kern="1200"/>
        </a:p>
      </dsp:txBody>
      <dsp:txXfrm>
        <a:off x="587270" y="3194281"/>
        <a:ext cx="7691481" cy="6126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6/7/layout/VerticalHollowActionList">
  <dgm:title val="Vertical Hollow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solidFgAcc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4033943" cy="352374"/>
          </a:xfrm>
          <a:prstGeom prst="rect">
            <a:avLst/>
          </a:prstGeom>
        </p:spPr>
        <p:txBody>
          <a:bodyPr vert="horz" lIns="80222" tIns="40112" rIns="80222" bIns="40112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73004" y="4"/>
            <a:ext cx="4033943" cy="352374"/>
          </a:xfrm>
          <a:prstGeom prst="rect">
            <a:avLst/>
          </a:prstGeom>
        </p:spPr>
        <p:txBody>
          <a:bodyPr vert="horz" lIns="80222" tIns="40112" rIns="80222" bIns="40112" rtlCol="0"/>
          <a:lstStyle>
            <a:lvl1pPr algn="r">
              <a:defRPr sz="1100"/>
            </a:lvl1pPr>
          </a:lstStyle>
          <a:p>
            <a:fld id="{AAB89070-0BFF-4174-9B51-8A7B8537D771}" type="datetimeFigureOut">
              <a:rPr lang="en-US" smtClean="0"/>
              <a:t>1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222" tIns="40112" rIns="80222" bIns="4011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0910" y="3379872"/>
            <a:ext cx="7447280" cy="2765346"/>
          </a:xfrm>
          <a:prstGeom prst="rect">
            <a:avLst/>
          </a:prstGeom>
        </p:spPr>
        <p:txBody>
          <a:bodyPr vert="horz" lIns="80222" tIns="40112" rIns="80222" bIns="4011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670729"/>
            <a:ext cx="4033943" cy="352373"/>
          </a:xfrm>
          <a:prstGeom prst="rect">
            <a:avLst/>
          </a:prstGeom>
        </p:spPr>
        <p:txBody>
          <a:bodyPr vert="horz" lIns="80222" tIns="40112" rIns="80222" bIns="40112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73004" y="6670729"/>
            <a:ext cx="4033943" cy="352373"/>
          </a:xfrm>
          <a:prstGeom prst="rect">
            <a:avLst/>
          </a:prstGeom>
        </p:spPr>
        <p:txBody>
          <a:bodyPr vert="horz" lIns="80222" tIns="40112" rIns="80222" bIns="40112" rtlCol="0" anchor="b"/>
          <a:lstStyle>
            <a:lvl1pPr algn="r">
              <a:defRPr sz="1100"/>
            </a:lvl1pPr>
          </a:lstStyle>
          <a:p>
            <a:fld id="{DA14EB8E-230F-42FB-9C39-F1454E1689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4028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g22a1c454a81_0_17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21" name="Google Shape;321;g22a1c454a81_0_1773:notes"/>
          <p:cNvSpPr txBox="1">
            <a:spLocks noGrp="1"/>
          </p:cNvSpPr>
          <p:nvPr>
            <p:ph type="body" idx="1"/>
          </p:nvPr>
        </p:nvSpPr>
        <p:spPr>
          <a:xfrm>
            <a:off x="685800" y="5036651"/>
            <a:ext cx="5486400" cy="35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22" name="Google Shape;322;g22a1c454a81_0_177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"/>
              <a:t>3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g22a1c454a81_0_59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42" name="Google Shape;342;g22a1c454a81_0_597:notes"/>
          <p:cNvSpPr txBox="1">
            <a:spLocks noGrp="1"/>
          </p:cNvSpPr>
          <p:nvPr>
            <p:ph type="body" idx="1"/>
          </p:nvPr>
        </p:nvSpPr>
        <p:spPr>
          <a:xfrm>
            <a:off x="685800" y="5036651"/>
            <a:ext cx="5486400" cy="35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43" name="Google Shape;343;g22a1c454a81_0_597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"/>
              <a:t>4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19540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g22a1c454a81_0_5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3" name="Google Shape;373;g22a1c454a81_0_569:notes"/>
          <p:cNvSpPr txBox="1">
            <a:spLocks noGrp="1"/>
          </p:cNvSpPr>
          <p:nvPr>
            <p:ph type="body" idx="1"/>
          </p:nvPr>
        </p:nvSpPr>
        <p:spPr>
          <a:xfrm>
            <a:off x="685800" y="5036651"/>
            <a:ext cx="5486400" cy="35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74" name="Google Shape;374;g22a1c454a81_0_56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fld id="{00000000-1234-1234-1234-123412341234}" type="slidenum">
              <a:rPr kumimoji="0" lang="en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ts val="1400"/>
                <a:buFontTx/>
                <a:buNone/>
                <a:tabLst/>
                <a:defRPr/>
              </a:pPr>
              <a:t>5</a:t>
            </a:fld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g22a1c454a81_0_5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51" name="Google Shape;351;g22a1c454a81_0_576:notes"/>
          <p:cNvSpPr txBox="1">
            <a:spLocks noGrp="1"/>
          </p:cNvSpPr>
          <p:nvPr>
            <p:ph type="body" idx="1"/>
          </p:nvPr>
        </p:nvSpPr>
        <p:spPr>
          <a:xfrm>
            <a:off x="685800" y="5036651"/>
            <a:ext cx="5486400" cy="358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52" name="Google Shape;352;g22a1c454a81_0_57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"/>
              <a:t>6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Google Shape;380;g22a1c454a81_0_107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1" name="Google Shape;381;g22a1c454a81_0_107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382" name="Google Shape;382;g22a1c454a81_0_107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en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t>7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10" Type="http://schemas.openxmlformats.org/officeDocument/2006/relationships/image" Target="../media/image5.png"/><Relationship Id="rId4" Type="http://schemas.openxmlformats.org/officeDocument/2006/relationships/tags" Target="../tags/tag24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5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5" Type="http://schemas.openxmlformats.org/officeDocument/2006/relationships/tags" Target="../tags/tag60.xml"/><Relationship Id="rId4" Type="http://schemas.openxmlformats.org/officeDocument/2006/relationships/tags" Target="../tags/tag59.xml"/><Relationship Id="rId9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4.xml"/><Relationship Id="rId7" Type="http://schemas.openxmlformats.org/officeDocument/2006/relationships/oleObject" Target="../embeddings/oleObject2.bin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6.xml"/><Relationship Id="rId10" Type="http://schemas.microsoft.com/office/2007/relationships/hdphoto" Target="../media/hdphoto1.wdp"/><Relationship Id="rId4" Type="http://schemas.openxmlformats.org/officeDocument/2006/relationships/tags" Target="../tags/tag85.xml"/><Relationship Id="rId9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8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Relationship Id="rId9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0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9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image" Target="../media/image11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image" Target="../media/image10.png"/><Relationship Id="rId5" Type="http://schemas.openxmlformats.org/officeDocument/2006/relationships/tags" Target="../tags/tag115.xml"/><Relationship Id="rId10" Type="http://schemas.openxmlformats.org/officeDocument/2006/relationships/image" Target="../media/image3.emf"/><Relationship Id="rId4" Type="http://schemas.openxmlformats.org/officeDocument/2006/relationships/tags" Target="../tags/tag114.xml"/><Relationship Id="rId9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image" Target="../media/image8.png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image" Target="../media/image10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11" Type="http://schemas.openxmlformats.org/officeDocument/2006/relationships/image" Target="../media/image1.emf"/><Relationship Id="rId5" Type="http://schemas.openxmlformats.org/officeDocument/2006/relationships/tags" Target="../tags/tag122.xml"/><Relationship Id="rId10" Type="http://schemas.openxmlformats.org/officeDocument/2006/relationships/oleObject" Target="../embeddings/oleObject9.bin"/><Relationship Id="rId4" Type="http://schemas.openxmlformats.org/officeDocument/2006/relationships/tags" Target="../tags/tag121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image" Target="../media/image8.png"/><Relationship Id="rId3" Type="http://schemas.openxmlformats.org/officeDocument/2006/relationships/tags" Target="../tags/tag128.xml"/><Relationship Id="rId7" Type="http://schemas.openxmlformats.org/officeDocument/2006/relationships/tags" Target="../tags/tag132.xml"/><Relationship Id="rId12" Type="http://schemas.openxmlformats.org/officeDocument/2006/relationships/image" Target="../media/image10.png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tags" Target="../tags/tag131.xml"/><Relationship Id="rId11" Type="http://schemas.openxmlformats.org/officeDocument/2006/relationships/image" Target="../media/image1.emf"/><Relationship Id="rId5" Type="http://schemas.openxmlformats.org/officeDocument/2006/relationships/tags" Target="../tags/tag130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129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image" Target="../media/image8.png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image" Target="../media/image10.png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image" Target="../media/image1.emf"/><Relationship Id="rId5" Type="http://schemas.openxmlformats.org/officeDocument/2006/relationships/tags" Target="../tags/tag138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37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image" Target="../media/image8.png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image" Target="../media/image10.png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image" Target="../media/image12.emf"/><Relationship Id="rId5" Type="http://schemas.openxmlformats.org/officeDocument/2006/relationships/tags" Target="../tags/tag14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45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image" Target="../media/image8.png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10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image" Target="../media/image1.emf"/><Relationship Id="rId5" Type="http://schemas.openxmlformats.org/officeDocument/2006/relationships/tags" Target="../tags/tag154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10" Type="http://schemas.openxmlformats.org/officeDocument/2006/relationships/image" Target="../media/image8.png"/><Relationship Id="rId4" Type="http://schemas.openxmlformats.org/officeDocument/2006/relationships/tags" Target="../tags/tag161.xml"/><Relationship Id="rId9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6.xml"/><Relationship Id="rId7" Type="http://schemas.openxmlformats.org/officeDocument/2006/relationships/image" Target="../media/image3.emf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4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2" Type="http://schemas.openxmlformats.org/officeDocument/2006/relationships/tags" Target="../tags/tag173.xml"/><Relationship Id="rId16" Type="http://schemas.openxmlformats.org/officeDocument/2006/relationships/image" Target="../media/image1.emf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oleObject" Target="../embeddings/oleObject17.bin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1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1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15.xml"/><Relationship Id="rId10" Type="http://schemas.openxmlformats.org/officeDocument/2006/relationships/image" Target="../media/image5.png"/><Relationship Id="rId4" Type="http://schemas.openxmlformats.org/officeDocument/2006/relationships/tags" Target="../tags/tag214.xml"/><Relationship Id="rId9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18.xml"/><Relationship Id="rId7" Type="http://schemas.openxmlformats.org/officeDocument/2006/relationships/oleObject" Target="../embeddings/oleObject2.bin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20.xml"/><Relationship Id="rId4" Type="http://schemas.openxmlformats.org/officeDocument/2006/relationships/tags" Target="../tags/tag219.xml"/><Relationship Id="rId9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1.emf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7" Type="http://schemas.openxmlformats.org/officeDocument/2006/relationships/image" Target="../media/image1.emf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7" Type="http://schemas.openxmlformats.org/officeDocument/2006/relationships/image" Target="../media/image1.emf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35.xml"/><Relationship Id="rId7" Type="http://schemas.openxmlformats.org/officeDocument/2006/relationships/image" Target="../media/image1.emf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3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7" Type="http://schemas.openxmlformats.org/officeDocument/2006/relationships/image" Target="../media/image6.png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4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tags" Target="../tags/tag245.xml"/><Relationship Id="rId5" Type="http://schemas.openxmlformats.org/officeDocument/2006/relationships/tags" Target="../tags/tag244.xml"/><Relationship Id="rId4" Type="http://schemas.openxmlformats.org/officeDocument/2006/relationships/tags" Target="../tags/tag243.xml"/><Relationship Id="rId9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67.xml"/><Relationship Id="rId7" Type="http://schemas.openxmlformats.org/officeDocument/2006/relationships/oleObject" Target="../embeddings/oleObject2.bin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69.xml"/><Relationship Id="rId10" Type="http://schemas.openxmlformats.org/officeDocument/2006/relationships/image" Target="../media/image5.png"/><Relationship Id="rId4" Type="http://schemas.openxmlformats.org/officeDocument/2006/relationships/tags" Target="../tags/tag268.xml"/><Relationship Id="rId9" Type="http://schemas.openxmlformats.org/officeDocument/2006/relationships/image" Target="../media/image4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2.xml"/><Relationship Id="rId7" Type="http://schemas.openxmlformats.org/officeDocument/2006/relationships/oleObject" Target="../embeddings/oleObject2.bin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74.xml"/><Relationship Id="rId4" Type="http://schemas.openxmlformats.org/officeDocument/2006/relationships/tags" Target="../tags/tag273.xml"/><Relationship Id="rId9" Type="http://schemas.openxmlformats.org/officeDocument/2006/relationships/image" Target="../media/image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77.xml"/><Relationship Id="rId7" Type="http://schemas.openxmlformats.org/officeDocument/2006/relationships/image" Target="../media/image1.emf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81.xml"/><Relationship Id="rId7" Type="http://schemas.openxmlformats.org/officeDocument/2006/relationships/image" Target="../media/image1.emf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7" Type="http://schemas.openxmlformats.org/officeDocument/2006/relationships/image" Target="../media/image1.emf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289.xml"/><Relationship Id="rId7" Type="http://schemas.openxmlformats.org/officeDocument/2006/relationships/image" Target="../media/image1.emf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image" Target="../media/image6.png"/><Relationship Id="rId2" Type="http://schemas.openxmlformats.org/officeDocument/2006/relationships/tags" Target="../tags/tag292.xml"/><Relationship Id="rId1" Type="http://schemas.openxmlformats.org/officeDocument/2006/relationships/tags" Target="../tags/tag29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2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15.xml"/><Relationship Id="rId7" Type="http://schemas.openxmlformats.org/officeDocument/2006/relationships/oleObject" Target="../embeddings/oleObject2.bin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17.xml"/><Relationship Id="rId10" Type="http://schemas.openxmlformats.org/officeDocument/2006/relationships/image" Target="../media/image5.png"/><Relationship Id="rId4" Type="http://schemas.openxmlformats.org/officeDocument/2006/relationships/tags" Target="../tags/tag316.xml"/><Relationship Id="rId9" Type="http://schemas.openxmlformats.org/officeDocument/2006/relationships/image" Target="../media/image4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0.xml"/><Relationship Id="rId7" Type="http://schemas.openxmlformats.org/officeDocument/2006/relationships/oleObject" Target="../embeddings/oleObject2.bin"/><Relationship Id="rId2" Type="http://schemas.openxmlformats.org/officeDocument/2006/relationships/tags" Target="../tags/tag319.xml"/><Relationship Id="rId1" Type="http://schemas.openxmlformats.org/officeDocument/2006/relationships/tags" Target="../tags/tag31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322.xml"/><Relationship Id="rId4" Type="http://schemas.openxmlformats.org/officeDocument/2006/relationships/tags" Target="../tags/tag321.xml"/><Relationship Id="rId9" Type="http://schemas.openxmlformats.org/officeDocument/2006/relationships/image" Target="../media/image5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25.xml"/><Relationship Id="rId7" Type="http://schemas.openxmlformats.org/officeDocument/2006/relationships/image" Target="../media/image1.emf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2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image" Target="../media/image1.emf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7" Type="http://schemas.openxmlformats.org/officeDocument/2006/relationships/image" Target="../media/image1.emf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337.xml"/><Relationship Id="rId7" Type="http://schemas.openxmlformats.org/officeDocument/2006/relationships/image" Target="../media/image1.emf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7" Type="http://schemas.openxmlformats.org/officeDocument/2006/relationships/image" Target="../media/image6.pn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4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43.xml"/><Relationship Id="rId1" Type="http://schemas.openxmlformats.org/officeDocument/2006/relationships/tags" Target="../tags/tag342.xml"/><Relationship Id="rId6" Type="http://schemas.openxmlformats.org/officeDocument/2006/relationships/tags" Target="../tags/tag347.xml"/><Relationship Id="rId5" Type="http://schemas.openxmlformats.org/officeDocument/2006/relationships/tags" Target="../tags/tag346.xml"/><Relationship Id="rId4" Type="http://schemas.openxmlformats.org/officeDocument/2006/relationships/tags" Target="../tags/tag345.xml"/><Relationship Id="rId9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69.xml"/><Relationship Id="rId7" Type="http://schemas.openxmlformats.org/officeDocument/2006/relationships/oleObject" Target="../embeddings/oleObject2.bin"/><Relationship Id="rId2" Type="http://schemas.openxmlformats.org/officeDocument/2006/relationships/tags" Target="../tags/tag368.xml"/><Relationship Id="rId1" Type="http://schemas.openxmlformats.org/officeDocument/2006/relationships/tags" Target="../tags/tag367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71.xml"/><Relationship Id="rId10" Type="http://schemas.openxmlformats.org/officeDocument/2006/relationships/image" Target="../media/image5.png"/><Relationship Id="rId4" Type="http://schemas.openxmlformats.org/officeDocument/2006/relationships/tags" Target="../tags/tag370.xml"/><Relationship Id="rId9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7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376.xml"/><Relationship Id="rId4" Type="http://schemas.openxmlformats.org/officeDocument/2006/relationships/tags" Target="../tags/tag375.xml"/><Relationship Id="rId9" Type="http://schemas.openxmlformats.org/officeDocument/2006/relationships/image" Target="../media/image5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7" Type="http://schemas.openxmlformats.org/officeDocument/2006/relationships/image" Target="../media/image1.emf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8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7" Type="http://schemas.openxmlformats.org/officeDocument/2006/relationships/image" Target="../media/image1.emf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8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7" Type="http://schemas.openxmlformats.org/officeDocument/2006/relationships/image" Target="../media/image1.emf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8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91.xml"/><Relationship Id="rId7" Type="http://schemas.openxmlformats.org/officeDocument/2006/relationships/image" Target="../media/image1.emf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9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7" Type="http://schemas.openxmlformats.org/officeDocument/2006/relationships/image" Target="../media/image6.png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2323909289"/>
      </p:ext>
    </p:extLst>
  </p:cSld>
  <p:clrMapOvr>
    <a:masterClrMapping/>
  </p:clrMapOvr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E8B3260-D7C2-AAD5-EBA6-77A7F25A16F2}"/>
              </a:ext>
            </a:extLst>
          </p:cNvPr>
          <p:cNvSpPr/>
          <p:nvPr userDrawn="1"/>
        </p:nvSpPr>
        <p:spPr>
          <a:xfrm>
            <a:off x="0" y="0"/>
            <a:ext cx="12192000" cy="893268"/>
          </a:xfrm>
          <a:prstGeom prst="rect">
            <a:avLst/>
          </a:prstGeom>
          <a:solidFill>
            <a:srgbClr val="00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4">
            <a:extLst>
              <a:ext uri="{FF2B5EF4-FFF2-40B4-BE49-F238E27FC236}">
                <a16:creationId xmlns:a16="http://schemas.microsoft.com/office/drawing/2014/main" id="{E6DA1D4D-C937-74FC-CB6F-2C83DBF34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21196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emblem, symbol, logo, text&#10;&#10;Description automatically generated">
            <a:extLst>
              <a:ext uri="{FF2B5EF4-FFF2-40B4-BE49-F238E27FC236}">
                <a16:creationId xmlns:a16="http://schemas.microsoft.com/office/drawing/2014/main" id="{B97C1981-B491-FFEE-A683-4D1F22F89F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53800" y="45291"/>
            <a:ext cx="776932" cy="802687"/>
          </a:xfrm>
          <a:prstGeom prst="rect">
            <a:avLst/>
          </a:prstGeom>
        </p:spPr>
      </p:pic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5326D54-9F38-41B7-B903-1F96D0B66D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92389"/>
            <a:ext cx="4114800" cy="2597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14" name="Slide Number Placeholder 3">
            <a:extLst>
              <a:ext uri="{FF2B5EF4-FFF2-40B4-BE49-F238E27FC236}">
                <a16:creationId xmlns:a16="http://schemas.microsoft.com/office/drawing/2014/main" id="{8066CB45-6057-9E9A-451D-1FCA957DA4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9154" y="6592389"/>
            <a:ext cx="452846" cy="2597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A6E9FD-D442-629F-AFB9-19B9F7EB0FC6}"/>
              </a:ext>
            </a:extLst>
          </p:cNvPr>
          <p:cNvSpPr txBox="1"/>
          <p:nvPr userDrawn="1"/>
        </p:nvSpPr>
        <p:spPr>
          <a:xfrm>
            <a:off x="4267200" y="6487437"/>
            <a:ext cx="3657600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DRAFT FOR POLICY AND PROGRAM DEVELOPMENT</a:t>
            </a:r>
          </a:p>
        </p:txBody>
      </p:sp>
    </p:spTree>
    <p:extLst>
      <p:ext uri="{BB962C8B-B14F-4D97-AF65-F5344CB8AC3E}">
        <p14:creationId xmlns:p14="http://schemas.microsoft.com/office/powerpoint/2010/main" val="2371030317"/>
      </p:ext>
    </p:extLst>
  </p:cSld>
  <p:clrMapOvr>
    <a:masterClrMapping/>
  </p:clrMapOvr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6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73768"/>
            <a:ext cx="1108252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7261169"/>
      </p:ext>
    </p:extLst>
  </p:cSld>
  <p:clrMapOvr>
    <a:masterClrMapping/>
  </p:clrMapOvr>
  <p:hf sldNum="0"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299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68602805"/>
      </p:ext>
    </p:extLst>
  </p:cSld>
  <p:clrMapOvr>
    <a:masterClrMapping/>
  </p:clrMapOvr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673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9D457990-7994-46E9-A2E2-C8912830E910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2308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4140790"/>
            <a:ext cx="6173979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BA015F-ACE8-453D-88B7-B7AB27B31C12}"/>
              </a:ext>
            </a:extLst>
          </p:cNvPr>
          <p:cNvSpPr/>
          <p:nvPr userDrawn="1"/>
        </p:nvSpPr>
        <p:spPr>
          <a:xfrm>
            <a:off x="20375" y="6642556"/>
            <a:ext cx="7234827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  <a:effectLst/>
                <a:latin typeface="+mn-lt"/>
              </a:rPr>
              <a:t>CONFIDENTIAL AND PROPRIETARY. ANY USE OF THIS MATERIAL WITHOUT SPECIFIC PERMISSION OF THE OWNER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987885988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6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73768"/>
            <a:ext cx="11082528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0087506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299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95973842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5459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1104711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8701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12952773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499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E502649F-727C-43E0-A093-71810F62A7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15" name="Freeform 58">
            <a:extLst>
              <a:ext uri="{FF2B5EF4-FFF2-40B4-BE49-F238E27FC236}">
                <a16:creationId xmlns:a16="http://schemas.microsoft.com/office/drawing/2014/main" id="{2B93DF85-815D-4634-B543-414FA330817E}"/>
              </a:ext>
            </a:extLst>
          </p:cNvPr>
          <p:cNvSpPr>
            <a:spLocks/>
          </p:cNvSpPr>
          <p:nvPr userDrawn="1"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1F497D"/>
          </a:solidFill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sym typeface="+mn-lt"/>
            </a:endParaRPr>
          </a:p>
        </p:txBody>
      </p:sp>
      <p:pic>
        <p:nvPicPr>
          <p:cNvPr id="16" name="Picture 2" descr="Image result for massachusetts seal">
            <a:extLst>
              <a:ext uri="{FF2B5EF4-FFF2-40B4-BE49-F238E27FC236}">
                <a16:creationId xmlns:a16="http://schemas.microsoft.com/office/drawing/2014/main" id="{9EBE0CB3-83A8-4233-B8F5-8E211365821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9409" y="213222"/>
            <a:ext cx="743941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5946"/>
            <a:ext cx="9180576" cy="383503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>
              <a:lnSpc>
                <a:spcPct val="10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16D8DA-CC2E-42D7-8564-1BE976427B37}"/>
              </a:ext>
            </a:extLst>
          </p:cNvPr>
          <p:cNvSpPr/>
          <p:nvPr userDrawn="1"/>
        </p:nvSpPr>
        <p:spPr>
          <a:xfrm>
            <a:off x="554736" y="6561153"/>
            <a:ext cx="11070845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effectLst/>
                <a:latin typeface="+mj-lt"/>
              </a:rPr>
              <a:t>CONFIDENTIAL AND PROPRIETARY. DOCUMENT BASED ON CURRENTLY AVAILABLE INFORMATION AND INTENDED FOR REVIEW BY US TREASURY.</a:t>
            </a:r>
            <a:endParaRPr lang="en-US" sz="1050"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04588163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9653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05DE843-2236-413E-AF8A-D5BF00A711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2997824" y="0"/>
            <a:ext cx="416951" cy="6858000"/>
          </a:xfrm>
          <a:prstGeom prst="rect">
            <a:avLst/>
          </a:prstGeom>
        </p:spPr>
      </p:pic>
      <p:pic>
        <p:nvPicPr>
          <p:cNvPr id="13" name="Picture 2" descr="Seal of Massachusetts - Wikipedia">
            <a:extLst>
              <a:ext uri="{FF2B5EF4-FFF2-40B4-BE49-F238E27FC236}">
                <a16:creationId xmlns:a16="http://schemas.microsoft.com/office/drawing/2014/main" id="{553D9C71-F318-4FBA-BB78-756F8BF70FC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9065441"/>
      </p:ext>
    </p:extLst>
  </p:cSld>
  <p:clrMapOvr>
    <a:masterClrMapping/>
  </p:clrMapOvr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24558"/>
      </p:ext>
    </p:extLst>
  </p:cSld>
  <p:clrMapOvr>
    <a:masterClrMapping/>
  </p:clrMapOvr>
  <p:hf sldNum="0"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5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028C82-A40A-479E-A5AD-CFE48F69AB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947783" y="0"/>
            <a:ext cx="416951" cy="6858000"/>
          </a:xfrm>
          <a:prstGeom prst="rect">
            <a:avLst/>
          </a:prstGeom>
        </p:spPr>
      </p:pic>
      <p:pic>
        <p:nvPicPr>
          <p:cNvPr id="12" name="Picture 2" descr="Seal of Massachusetts - Wikipedia">
            <a:extLst>
              <a:ext uri="{FF2B5EF4-FFF2-40B4-BE49-F238E27FC236}">
                <a16:creationId xmlns:a16="http://schemas.microsoft.com/office/drawing/2014/main" id="{3F42AA54-CF29-40CB-AACC-23986B71AB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8569112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178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506577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F6A9849-7C4F-4C89-8760-17A14733BC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76001" y="0"/>
            <a:ext cx="416951" cy="6858000"/>
          </a:xfrm>
          <a:prstGeom prst="rect">
            <a:avLst/>
          </a:prstGeom>
        </p:spPr>
      </p:pic>
      <p:pic>
        <p:nvPicPr>
          <p:cNvPr id="12" name="Picture 2" descr="Seal of Massachusetts - Wikipedia">
            <a:extLst>
              <a:ext uri="{FF2B5EF4-FFF2-40B4-BE49-F238E27FC236}">
                <a16:creationId xmlns:a16="http://schemas.microsoft.com/office/drawing/2014/main" id="{56136504-1778-41D1-B0C3-86111FD1387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3A63799-CD6C-420E-B8AA-A9A5E16D100F}"/>
              </a:ext>
            </a:extLst>
          </p:cNvPr>
          <p:cNvSpPr/>
          <p:nvPr userDrawn="1"/>
        </p:nvSpPr>
        <p:spPr>
          <a:xfrm>
            <a:off x="1066032" y="6562677"/>
            <a:ext cx="10470156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effectLst/>
                <a:latin typeface="+mj-lt"/>
              </a:rPr>
              <a:t>CONFIDENTIAL AND PROPRIETARY. DOCUMENT BASED ON CURRENTLY AVAILABLE INFORMATION AND INTENDED FOR REVIEW BY US TREASURY.</a:t>
            </a:r>
          </a:p>
        </p:txBody>
      </p:sp>
    </p:spTree>
    <p:extLst>
      <p:ext uri="{BB962C8B-B14F-4D97-AF65-F5344CB8AC3E}">
        <p14:creationId xmlns:p14="http://schemas.microsoft.com/office/powerpoint/2010/main" val="2722272981"/>
      </p:ext>
    </p:extLst>
  </p:cSld>
  <p:clrMapOvr>
    <a:masterClrMapping/>
  </p:clrMapOvr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7484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69677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3A38938-A8A3-434F-AAE4-30FD188BFA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13361" y="0"/>
            <a:ext cx="416951" cy="6858000"/>
          </a:xfrm>
          <a:prstGeom prst="rect">
            <a:avLst/>
          </a:prstGeom>
        </p:spPr>
      </p:pic>
      <p:pic>
        <p:nvPicPr>
          <p:cNvPr id="12" name="Picture 2" descr="Seal of Massachusetts - Wikipedia">
            <a:extLst>
              <a:ext uri="{FF2B5EF4-FFF2-40B4-BE49-F238E27FC236}">
                <a16:creationId xmlns:a16="http://schemas.microsoft.com/office/drawing/2014/main" id="{8BB4D08D-2DA2-432D-A2E7-743E659638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F83CDB49-4503-414E-9AB8-817699840778}"/>
              </a:ext>
            </a:extLst>
          </p:cNvPr>
          <p:cNvSpPr/>
          <p:nvPr userDrawn="1"/>
        </p:nvSpPr>
        <p:spPr>
          <a:xfrm>
            <a:off x="287087" y="6367948"/>
            <a:ext cx="7151256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effectLst/>
                <a:latin typeface="+mj-lt"/>
              </a:rPr>
              <a:t>CONFIDENTIAL AND PROPRIETARY. DOCUMENT BASED ON CURRENTLY AVAILABLE INFORMATION AND INTENDED FOR REVIEW BY US TREASURY.</a:t>
            </a:r>
          </a:p>
        </p:txBody>
      </p:sp>
    </p:spTree>
    <p:extLst>
      <p:ext uri="{BB962C8B-B14F-4D97-AF65-F5344CB8AC3E}">
        <p14:creationId xmlns:p14="http://schemas.microsoft.com/office/powerpoint/2010/main" val="2810605776"/>
      </p:ext>
    </p:extLst>
  </p:cSld>
  <p:clrMapOvr>
    <a:masterClrMapping/>
  </p:clrMapOvr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9821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noProof="0">
              <a:solidFill>
                <a:schemeClr val="bg1"/>
              </a:solidFill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884725"/>
            <a:ext cx="7918704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C5EB99D-E81E-49A7-BDD7-746B7E0DEA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8364465" y="0"/>
            <a:ext cx="416951" cy="6858000"/>
          </a:xfrm>
          <a:prstGeom prst="rect">
            <a:avLst/>
          </a:prstGeom>
        </p:spPr>
      </p:pic>
      <p:pic>
        <p:nvPicPr>
          <p:cNvPr id="12" name="Picture 2" descr="Seal of Massachusetts - Wikipedia">
            <a:extLst>
              <a:ext uri="{FF2B5EF4-FFF2-40B4-BE49-F238E27FC236}">
                <a16:creationId xmlns:a16="http://schemas.microsoft.com/office/drawing/2014/main" id="{A155DBAC-AC86-498D-8B75-4B99A1A0FA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700975C-A254-4788-A3B1-F15069A16750}"/>
              </a:ext>
            </a:extLst>
          </p:cNvPr>
          <p:cNvSpPr/>
          <p:nvPr userDrawn="1"/>
        </p:nvSpPr>
        <p:spPr>
          <a:xfrm>
            <a:off x="571780" y="6367948"/>
            <a:ext cx="7866382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effectLst/>
                <a:latin typeface="+mj-lt"/>
              </a:rPr>
              <a:t>CONFIDENTIAL AND PROPRIETARY. DOCUMENT BASED ON CURRENTLY AVAILABLE INFORMATION AND INTENDED FOR REVIEW BY US TREASURY.</a:t>
            </a:r>
          </a:p>
        </p:txBody>
      </p:sp>
    </p:spTree>
    <p:extLst>
      <p:ext uri="{BB962C8B-B14F-4D97-AF65-F5344CB8AC3E}">
        <p14:creationId xmlns:p14="http://schemas.microsoft.com/office/powerpoint/2010/main" val="2356584817"/>
      </p:ext>
    </p:extLst>
  </p:cSld>
  <p:clrMapOvr>
    <a:masterClrMapping/>
  </p:clrMapOvr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073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7653E666-EEA8-43FC-AD86-8FF6546D3986}"/>
              </a:ext>
            </a:extLst>
          </p:cNvPr>
          <p:cNvSpPr/>
          <p:nvPr userDrawn="1"/>
        </p:nvSpPr>
        <p:spPr>
          <a:xfrm>
            <a:off x="0" y="0"/>
            <a:ext cx="12192000" cy="1259840"/>
          </a:xfrm>
          <a:prstGeom prst="rect">
            <a:avLst/>
          </a:prstGeom>
          <a:solidFill>
            <a:srgbClr val="1F497D"/>
          </a:solidFill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Picture 2" descr="Seal of Massachusetts - Wikipedia">
            <a:extLst>
              <a:ext uri="{FF2B5EF4-FFF2-40B4-BE49-F238E27FC236}">
                <a16:creationId xmlns:a16="http://schemas.microsoft.com/office/drawing/2014/main" id="{A79E1297-42AC-4293-AC6B-BB117F55A3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288927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0602418" cy="989512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4682B5F-AD73-4D79-9BA1-60B78C4071CA}"/>
              </a:ext>
            </a:extLst>
          </p:cNvPr>
          <p:cNvSpPr/>
          <p:nvPr userDrawn="1"/>
        </p:nvSpPr>
        <p:spPr>
          <a:xfrm>
            <a:off x="826550" y="6465557"/>
            <a:ext cx="10470154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effectLst/>
                <a:latin typeface="+mj-lt"/>
              </a:rPr>
              <a:t>CONFIDENTIAL AND PROPRIETARY. DOCUMENT BASED ON CURRENTLY AVAILABLE INFORMATION AND INTENDED FOR REVIEW BY US TREASURY.</a:t>
            </a:r>
          </a:p>
        </p:txBody>
      </p:sp>
    </p:spTree>
    <p:extLst>
      <p:ext uri="{BB962C8B-B14F-4D97-AF65-F5344CB8AC3E}">
        <p14:creationId xmlns:p14="http://schemas.microsoft.com/office/powerpoint/2010/main" val="436830506"/>
      </p:ext>
    </p:extLst>
  </p:cSld>
  <p:clrMapOvr>
    <a:masterClrMapping/>
  </p:clrMapOvr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1606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82C81A7-B91D-4BD2-997B-7374BBF1A00A}"/>
              </a:ext>
            </a:extLst>
          </p:cNvPr>
          <p:cNvSpPr/>
          <p:nvPr userDrawn="1"/>
        </p:nvSpPr>
        <p:spPr>
          <a:xfrm>
            <a:off x="1302466" y="6454458"/>
            <a:ext cx="9518322" cy="207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effectLst/>
                <a:latin typeface="+mj-lt"/>
              </a:rPr>
              <a:t>CONFIDENTIAL AND PROPRIETARY. DOCUMENT BASED ON CURRENTLY AVAILABLE INFORMATION AND INTENDED FOR REVIEW BY US TREASURY.</a:t>
            </a:r>
          </a:p>
        </p:txBody>
      </p:sp>
    </p:spTree>
    <p:extLst>
      <p:ext uri="{BB962C8B-B14F-4D97-AF65-F5344CB8AC3E}">
        <p14:creationId xmlns:p14="http://schemas.microsoft.com/office/powerpoint/2010/main" val="3684851087"/>
      </p:ext>
    </p:extLst>
  </p:cSld>
  <p:clrMapOvr>
    <a:masterClrMapping/>
  </p:clrMapOvr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904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A8DEF01-49B9-4334-B0B8-CE3E10A23E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5843A8-0E84-4C83-BAEB-E982AF657EF2}"/>
              </a:ext>
            </a:extLst>
          </p:cNvPr>
          <p:cNvSpPr txBox="1"/>
          <p:nvPr userDrawn="1"/>
        </p:nvSpPr>
        <p:spPr>
          <a:xfrm>
            <a:off x="554735" y="568851"/>
            <a:ext cx="4064000" cy="4154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/>
            <a:r>
              <a:rPr lang="en-US" sz="3600">
                <a:solidFill>
                  <a:schemeClr val="bg2"/>
                </a:solidFill>
              </a:rPr>
              <a:t>Thank yo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1C02818-F54A-4D86-92A2-F69F0EE2C40F}"/>
              </a:ext>
            </a:extLst>
          </p:cNvPr>
          <p:cNvSpPr/>
          <p:nvPr userDrawn="1"/>
        </p:nvSpPr>
        <p:spPr>
          <a:xfrm>
            <a:off x="4438141" y="6211669"/>
            <a:ext cx="4248659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>
                <a:solidFill>
                  <a:schemeClr val="tx2"/>
                </a:solidFill>
                <a:effectLst/>
                <a:latin typeface="+mj-lt"/>
              </a:rPr>
              <a:t>CONFIDENTIAL AND PROPRIETARY. DOCUMENT BASED ON CURRENTLY AVAILABLE INFORMATION AND INTENDED FOR REVIEW BY US TREASURY.</a:t>
            </a:r>
          </a:p>
        </p:txBody>
      </p:sp>
    </p:spTree>
    <p:extLst>
      <p:ext uri="{BB962C8B-B14F-4D97-AF65-F5344CB8AC3E}">
        <p14:creationId xmlns:p14="http://schemas.microsoft.com/office/powerpoint/2010/main" val="3007566911"/>
      </p:ext>
    </p:extLst>
  </p:cSld>
  <p:clrMapOvr>
    <a:masterClrMapping/>
  </p:clrMapOvr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334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1614339"/>
            <a:ext cx="2471737" cy="207749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400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600" y="2348980"/>
            <a:ext cx="7942686" cy="369332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400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112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763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9752" y="94157"/>
            <a:ext cx="4480560" cy="92333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91691503"/>
      </p:ext>
    </p:extLst>
  </p:cSld>
  <p:clrMapOvr>
    <a:masterClrMapping/>
  </p:clrMapOvr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6207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533378"/>
            <a:ext cx="325501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1A5E303-71C7-4CBA-843E-F89BEE4870B0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6704" y="104708"/>
            <a:ext cx="4480560" cy="92333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49656653"/>
      </p:ext>
    </p:extLst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125148"/>
      </p:ext>
    </p:extLst>
  </p:cSld>
  <p:clrMapOvr>
    <a:masterClrMapping/>
  </p:clrMapOvr>
  <p:hf sldNum="0"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66FF9-0EBE-4712-A107-7C736776C0E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190499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3541382676"/>
      </p:ext>
    </p:extLst>
  </p:cSld>
  <p:clrMapOvr>
    <a:masterClrMapping/>
  </p:clrMapOvr>
  <p:hf sldNum="0"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591154"/>
      </p:ext>
    </p:extLst>
  </p:cSld>
  <p:clrMapOvr>
    <a:masterClrMapping/>
  </p:clrMapOvr>
  <p:hf sldNum="0"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1437920"/>
      </p:ext>
    </p:extLst>
  </p:cSld>
  <p:clrMapOvr>
    <a:masterClrMapping/>
  </p:clrMapOvr>
  <p:hf sldNum="0"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7058173"/>
      </p:ext>
    </p:extLst>
  </p:cSld>
  <p:clrMapOvr>
    <a:masterClrMapping/>
  </p:clrMapOvr>
  <p:hf sldNum="0"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959153"/>
      </p:ext>
    </p:extLst>
  </p:cSld>
  <p:clrMapOvr>
    <a:masterClrMapping/>
  </p:clrMapOvr>
  <p:hf sldNum="0"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7569992"/>
      </p:ext>
    </p:extLst>
  </p:cSld>
  <p:clrMapOvr>
    <a:masterClrMapping/>
  </p:clrMapOvr>
  <p:hf sldNum="0"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1204942"/>
      </p:ext>
    </p:extLst>
  </p:cSld>
  <p:clrMapOvr>
    <a:masterClrMapping/>
  </p:clrMapOvr>
  <p:hf sldNum="0"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546476910"/>
      </p:ext>
    </p:extLst>
  </p:cSld>
  <p:clrMapOvr>
    <a:masterClrMapping/>
  </p:clrMapOvr>
  <p:hf sldNum="0"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6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7376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170047"/>
      </p:ext>
    </p:extLst>
  </p:cSld>
  <p:clrMapOvr>
    <a:masterClrMapping/>
  </p:clrMapOvr>
  <p:hf sldNum="0"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3524831"/>
      </p:ext>
    </p:extLst>
  </p:cSld>
  <p:clrMapOvr>
    <a:masterClrMapping/>
  </p:clrMapOvr>
  <p:hf sldNum="0"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1829489085"/>
      </p:ext>
    </p:extLst>
  </p:cSld>
  <p:clrMapOvr>
    <a:masterClrMapping/>
  </p:clrMapOvr>
  <p:hf sldNum="0"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596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13273" y="1000662"/>
            <a:ext cx="0" cy="4873925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6852658"/>
      </p:ext>
    </p:extLst>
  </p:cSld>
  <p:clrMapOvr>
    <a:masterClrMapping/>
  </p:clrMapOvr>
  <p:hf sldNum="0"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873805"/>
      </p:ext>
    </p:extLst>
  </p:cSld>
  <p:clrMapOvr>
    <a:masterClrMapping/>
  </p:clrMapOvr>
  <p:hf sldNum="0"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8119799"/>
      </p:ext>
    </p:extLst>
  </p:cSld>
  <p:clrMapOvr>
    <a:masterClrMapping/>
  </p:clrMapOvr>
  <p:hf sldNum="0"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210207"/>
      </p:ext>
    </p:extLst>
  </p:cSld>
  <p:clrMapOvr>
    <a:masterClrMapping/>
  </p:clrMapOvr>
  <p:hf sldNum="0"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3258276"/>
      </p:ext>
    </p:extLst>
  </p:cSld>
  <p:clrMapOvr>
    <a:masterClrMapping/>
  </p:clrMapOvr>
  <p:hf sldNum="0"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54199"/>
      </p:ext>
    </p:extLst>
  </p:cSld>
  <p:clrMapOvr>
    <a:masterClrMapping/>
  </p:clrMapOvr>
  <p:hf sldNum="0"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B8D04-682E-43A0-B0F9-92984890B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3962"/>
            <a:ext cx="10515600" cy="4883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66487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</p:spTree>
    <p:extLst>
      <p:ext uri="{BB962C8B-B14F-4D97-AF65-F5344CB8AC3E}">
        <p14:creationId xmlns:p14="http://schemas.microsoft.com/office/powerpoint/2010/main" val="3695985440"/>
      </p:ext>
    </p:extLst>
  </p:cSld>
  <p:clrMapOvr>
    <a:masterClrMapping/>
  </p:clrMapOvr>
  <p:hf sldNum="0"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798694"/>
      </p:ext>
    </p:extLst>
  </p:cSld>
  <p:clrMapOvr>
    <a:masterClrMapping/>
  </p:clrMapOvr>
  <p:hf sldNum="0"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6308062"/>
      </p:ext>
    </p:extLst>
  </p:cSld>
  <p:clrMapOvr>
    <a:masterClrMapping/>
  </p:clrMapOvr>
  <p:hf sldNum="0"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471831"/>
      </p:ext>
    </p:extLst>
  </p:cSld>
  <p:clrMapOvr>
    <a:masterClrMapping/>
  </p:clrMapOvr>
  <p:hf sldNum="0"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1867930744"/>
      </p:ext>
    </p:extLst>
  </p:cSld>
  <p:clrMapOvr>
    <a:masterClrMapping/>
  </p:clrMapOvr>
  <p:hf sldNum="0"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0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21900" y="2305359"/>
            <a:ext cx="0" cy="1777582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2420487"/>
      </p:ext>
    </p:extLst>
  </p:cSld>
  <p:clrMapOvr>
    <a:masterClrMapping/>
  </p:clrMapOvr>
  <p:hf sldNum="0"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6692901"/>
      </p:ext>
    </p:extLst>
  </p:cSld>
  <p:clrMapOvr>
    <a:masterClrMapping/>
  </p:clrMapOvr>
  <p:hf sldNum="0"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5713954"/>
      </p:ext>
    </p:extLst>
  </p:cSld>
  <p:clrMapOvr>
    <a:masterClrMapping/>
  </p:clrMapOvr>
  <p:hf sldNum="0"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571828"/>
      </p:ext>
    </p:extLst>
  </p:cSld>
  <p:clrMapOvr>
    <a:masterClrMapping/>
  </p:clrMapOvr>
  <p:hf sldNum="0"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7196941"/>
      </p:ext>
    </p:extLst>
  </p:cSld>
  <p:clrMapOvr>
    <a:masterClrMapping/>
  </p:clrMapOvr>
  <p:hf sldNum="0"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4111022"/>
      </p:ext>
    </p:extLst>
  </p:cSld>
  <p:clrMapOvr>
    <a:masterClrMapping/>
  </p:clrMapOvr>
  <p:hf sldNum="0"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926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1073768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1343085"/>
      </p:ext>
    </p:extLst>
  </p:cSld>
  <p:clrMapOvr>
    <a:masterClrMapping/>
  </p:clrMapOvr>
  <p:hf sldNum="0"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ly ">
    <p:bg>
      <p:bgPr>
        <a:solidFill>
          <a:schemeClr val="accent1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CB9D383-5863-4165-A65B-A24AACAD1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42210"/>
            <a:ext cx="9884833" cy="384048"/>
          </a:xfrm>
        </p:spPr>
        <p:txBody>
          <a:bodyPr lIns="0"/>
          <a:lstStyle>
            <a:lvl1pPr>
              <a:defRPr/>
            </a:lvl1pPr>
          </a:lstStyle>
          <a:p>
            <a:r>
              <a:rPr lang="en-US"/>
              <a:t>Add title here</a:t>
            </a:r>
            <a:endParaRPr lang="en-US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B0FF4FF-E5D9-FAC6-B708-1AC23C3ADE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50594" y="228600"/>
            <a:ext cx="1652057" cy="411268"/>
          </a:xfrm>
        </p:spPr>
        <p:txBody>
          <a:bodyPr>
            <a:noAutofit/>
          </a:bodyPr>
          <a:lstStyle>
            <a:lvl1pPr marL="0" indent="0" algn="r">
              <a:buNone/>
              <a:defRPr sz="2400" b="0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65A319-3BE3-B703-B537-CDD2D2D698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914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E5EAA0D-AAE6-2B27-DBF1-6CB2AC8A4A9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81853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EABED0-9877-B182-B936-5B7D5C42EE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97521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DCBE9C3-F4A2-C61D-F222-B713D947049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13189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F55CCD-699B-2B4D-E012-47C5DD42B31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28857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10108122-0114-4233-1E31-7A47E98464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944525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6"/>
          </p:nvPr>
        </p:nvSpPr>
        <p:spPr>
          <a:xfrm>
            <a:off x="406400" y="6629400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C93A36-1BCE-4989-A484-BB2F32BA08F5}" type="datetimeFigureOut">
              <a:rPr lang="en-US" smtClean="0"/>
              <a:pPr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7"/>
          </p:nvPr>
        </p:nvSpPr>
        <p:spPr>
          <a:xfrm>
            <a:off x="4165600" y="6629400"/>
            <a:ext cx="3860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8"/>
          </p:nvPr>
        </p:nvSpPr>
        <p:spPr>
          <a:xfrm>
            <a:off x="8981016" y="6631641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CB5F7B-7C15-41FD-9488-0FCC5C0A130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Instructional Text"/>
          <p:cNvSpPr/>
          <p:nvPr/>
        </p:nvSpPr>
        <p:spPr>
          <a:xfrm>
            <a:off x="12395200" y="-26670"/>
            <a:ext cx="1524000" cy="6858000"/>
          </a:xfrm>
          <a:prstGeom prst="roundRect">
            <a:avLst>
              <a:gd name="adj" fmla="val 6795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Note: </a:t>
            </a:r>
          </a:p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 can print this template to use as a wall calendar.</a:t>
            </a:r>
            <a:r>
              <a:rPr lang="en-US" sz="1100" b="1" i="1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You can also copy the slide for any month to add to your own presentation.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4297553A-1FAA-308D-A08D-417A8B258277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76914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B3E6B342-1BF1-8B66-C709-2A6EDF3C0630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281853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CA31B322-EBD6-1B49-08C6-B6B7C412F0FE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197521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6A9CBE06-300C-2F5F-2D71-AFDF6CA5EC79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13189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89B02C4F-E815-FE97-AA36-557F6679868E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28857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CBB198E9-7F3D-D817-8BEA-935961CDA921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44525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9DA29E8-B176-5686-C89E-79AE79327126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76913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9AD1A270-CD0B-273B-EEFC-CBA71C95993A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281852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CE0EAD4-B343-4409-BFFF-B511CA7A5122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197520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D37653EC-C7A1-8414-1449-CBD18E2D90BE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113188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C206D3C-6975-503A-5A6C-E66AC9B23831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028856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96AC0B56-614E-C447-DEED-64F69EB4521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4524" y="1313069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670CCB0A-9268-2C56-A74C-98A469B9BA7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6914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21">
            <a:extLst>
              <a:ext uri="{FF2B5EF4-FFF2-40B4-BE49-F238E27FC236}">
                <a16:creationId xmlns:a16="http://schemas.microsoft.com/office/drawing/2014/main" id="{8323FC67-BA61-BDFB-08F0-39EA3948615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281853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2" name="Text Placeholder 21">
            <a:extLst>
              <a:ext uri="{FF2B5EF4-FFF2-40B4-BE49-F238E27FC236}">
                <a16:creationId xmlns:a16="http://schemas.microsoft.com/office/drawing/2014/main" id="{F7BA4904-9E3A-112B-5BBE-E771C723F02B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97521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3" name="Text Placeholder 21">
            <a:extLst>
              <a:ext uri="{FF2B5EF4-FFF2-40B4-BE49-F238E27FC236}">
                <a16:creationId xmlns:a16="http://schemas.microsoft.com/office/drawing/2014/main" id="{C532AD1A-F2F5-A878-272D-9D6A2364726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13189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4" name="Text Placeholder 21">
            <a:extLst>
              <a:ext uri="{FF2B5EF4-FFF2-40B4-BE49-F238E27FC236}">
                <a16:creationId xmlns:a16="http://schemas.microsoft.com/office/drawing/2014/main" id="{5ABDE29A-A698-5444-EA80-C52BD9DC7D6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28857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5" name="Text Placeholder 21">
            <a:extLst>
              <a:ext uri="{FF2B5EF4-FFF2-40B4-BE49-F238E27FC236}">
                <a16:creationId xmlns:a16="http://schemas.microsoft.com/office/drawing/2014/main" id="{DEA20E90-0A62-DC46-D1CC-8469C4339DA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44525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6" name="Text Placeholder 2">
            <a:extLst>
              <a:ext uri="{FF2B5EF4-FFF2-40B4-BE49-F238E27FC236}">
                <a16:creationId xmlns:a16="http://schemas.microsoft.com/office/drawing/2014/main" id="{44B2B121-B4DA-BA5C-666E-7517506F60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913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7" name="Text Placeholder 2">
            <a:extLst>
              <a:ext uri="{FF2B5EF4-FFF2-40B4-BE49-F238E27FC236}">
                <a16:creationId xmlns:a16="http://schemas.microsoft.com/office/drawing/2014/main" id="{E96241E1-1A99-7CE8-DB18-157B533C453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1852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8" name="Text Placeholder 2">
            <a:extLst>
              <a:ext uri="{FF2B5EF4-FFF2-40B4-BE49-F238E27FC236}">
                <a16:creationId xmlns:a16="http://schemas.microsoft.com/office/drawing/2014/main" id="{7CFD6B81-C9F8-63CE-B6A3-233C24E0B2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97520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9" name="Text Placeholder 2">
            <a:extLst>
              <a:ext uri="{FF2B5EF4-FFF2-40B4-BE49-F238E27FC236}">
                <a16:creationId xmlns:a16="http://schemas.microsoft.com/office/drawing/2014/main" id="{8E12CE13-43A8-9439-DA67-BCC57C76B8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188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0" name="Text Placeholder 2">
            <a:extLst>
              <a:ext uri="{FF2B5EF4-FFF2-40B4-BE49-F238E27FC236}">
                <a16:creationId xmlns:a16="http://schemas.microsoft.com/office/drawing/2014/main" id="{A358F5E5-719A-15E5-D969-7AB1254CB2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8856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1" name="Text Placeholder 2">
            <a:extLst>
              <a:ext uri="{FF2B5EF4-FFF2-40B4-BE49-F238E27FC236}">
                <a16:creationId xmlns:a16="http://schemas.microsoft.com/office/drawing/2014/main" id="{68E0AE80-E749-F100-72EA-52ACAF71DF2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44524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2" name="Text Placeholder 21">
            <a:extLst>
              <a:ext uri="{FF2B5EF4-FFF2-40B4-BE49-F238E27FC236}">
                <a16:creationId xmlns:a16="http://schemas.microsoft.com/office/drawing/2014/main" id="{ED01CE71-F5D9-86C9-7DC5-E2966B5621BB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6914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3" name="Text Placeholder 21">
            <a:extLst>
              <a:ext uri="{FF2B5EF4-FFF2-40B4-BE49-F238E27FC236}">
                <a16:creationId xmlns:a16="http://schemas.microsoft.com/office/drawing/2014/main" id="{B37090ED-C1B0-3DD3-C56E-8B3EA32C1D9C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281853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4" name="Text Placeholder 21">
            <a:extLst>
              <a:ext uri="{FF2B5EF4-FFF2-40B4-BE49-F238E27FC236}">
                <a16:creationId xmlns:a16="http://schemas.microsoft.com/office/drawing/2014/main" id="{5EFB7F00-9190-0E78-C5E0-40B727216D9F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97521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5" name="Text Placeholder 21">
            <a:extLst>
              <a:ext uri="{FF2B5EF4-FFF2-40B4-BE49-F238E27FC236}">
                <a16:creationId xmlns:a16="http://schemas.microsoft.com/office/drawing/2014/main" id="{A4E651F4-0762-EC8B-6EC0-0694E0B63B3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3189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6" name="Text Placeholder 21">
            <a:extLst>
              <a:ext uri="{FF2B5EF4-FFF2-40B4-BE49-F238E27FC236}">
                <a16:creationId xmlns:a16="http://schemas.microsoft.com/office/drawing/2014/main" id="{936E1553-2E4A-8727-C684-BFA15AF4776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28857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7" name="Text Placeholder 21">
            <a:extLst>
              <a:ext uri="{FF2B5EF4-FFF2-40B4-BE49-F238E27FC236}">
                <a16:creationId xmlns:a16="http://schemas.microsoft.com/office/drawing/2014/main" id="{72A245CC-3F9E-9F62-64A1-4F4B4AB36179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944525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8" name="Text Placeholder 2">
            <a:extLst>
              <a:ext uri="{FF2B5EF4-FFF2-40B4-BE49-F238E27FC236}">
                <a16:creationId xmlns:a16="http://schemas.microsoft.com/office/drawing/2014/main" id="{EB4FE517-8212-BC60-AAA9-EB0BE0242E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913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9" name="Text Placeholder 2">
            <a:extLst>
              <a:ext uri="{FF2B5EF4-FFF2-40B4-BE49-F238E27FC236}">
                <a16:creationId xmlns:a16="http://schemas.microsoft.com/office/drawing/2014/main" id="{DB081B09-D3EF-94DD-DCF1-FB7AA9E870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1852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0" name="Text Placeholder 2">
            <a:extLst>
              <a:ext uri="{FF2B5EF4-FFF2-40B4-BE49-F238E27FC236}">
                <a16:creationId xmlns:a16="http://schemas.microsoft.com/office/drawing/2014/main" id="{7B127F26-EAF8-3788-EA29-18E7539DA8B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97520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1" name="Text Placeholder 2">
            <a:extLst>
              <a:ext uri="{FF2B5EF4-FFF2-40B4-BE49-F238E27FC236}">
                <a16:creationId xmlns:a16="http://schemas.microsoft.com/office/drawing/2014/main" id="{5B45C9D4-F0CE-91C5-49EB-1DEA5695368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3188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2" name="Text Placeholder 2">
            <a:extLst>
              <a:ext uri="{FF2B5EF4-FFF2-40B4-BE49-F238E27FC236}">
                <a16:creationId xmlns:a16="http://schemas.microsoft.com/office/drawing/2014/main" id="{B5476F73-AB8B-A39A-8026-8042652F501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28856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3" name="Text Placeholder 2">
            <a:extLst>
              <a:ext uri="{FF2B5EF4-FFF2-40B4-BE49-F238E27FC236}">
                <a16:creationId xmlns:a16="http://schemas.microsoft.com/office/drawing/2014/main" id="{A3A8CF61-EEF4-8C57-F837-F623A44ECBE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44524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4" name="Text Placeholder 21">
            <a:extLst>
              <a:ext uri="{FF2B5EF4-FFF2-40B4-BE49-F238E27FC236}">
                <a16:creationId xmlns:a16="http://schemas.microsoft.com/office/drawing/2014/main" id="{14C2D7A6-3248-6EA6-A3F1-218EF010F11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6914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5" name="Text Placeholder 21">
            <a:extLst>
              <a:ext uri="{FF2B5EF4-FFF2-40B4-BE49-F238E27FC236}">
                <a16:creationId xmlns:a16="http://schemas.microsoft.com/office/drawing/2014/main" id="{EE495DC4-7BDB-4380-996E-04DD17A2D5E4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281853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6" name="Text Placeholder 21">
            <a:extLst>
              <a:ext uri="{FF2B5EF4-FFF2-40B4-BE49-F238E27FC236}">
                <a16:creationId xmlns:a16="http://schemas.microsoft.com/office/drawing/2014/main" id="{1B68C71D-961A-D782-7E54-7034328D61A9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521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7" name="Text Placeholder 21">
            <a:extLst>
              <a:ext uri="{FF2B5EF4-FFF2-40B4-BE49-F238E27FC236}">
                <a16:creationId xmlns:a16="http://schemas.microsoft.com/office/drawing/2014/main" id="{506A6ABC-05D4-0076-A0CA-03160D3DCAAB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113189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8" name="Text Placeholder 21">
            <a:extLst>
              <a:ext uri="{FF2B5EF4-FFF2-40B4-BE49-F238E27FC236}">
                <a16:creationId xmlns:a16="http://schemas.microsoft.com/office/drawing/2014/main" id="{9C9F42F0-E36F-D27E-30AE-7A305A28623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28857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9" name="Text Placeholder 21">
            <a:extLst>
              <a:ext uri="{FF2B5EF4-FFF2-40B4-BE49-F238E27FC236}">
                <a16:creationId xmlns:a16="http://schemas.microsoft.com/office/drawing/2014/main" id="{75478D05-F491-D8DD-BE67-17E8BB24BDB9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44525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0" name="Text Placeholder 2">
            <a:extLst>
              <a:ext uri="{FF2B5EF4-FFF2-40B4-BE49-F238E27FC236}">
                <a16:creationId xmlns:a16="http://schemas.microsoft.com/office/drawing/2014/main" id="{A6AECCA9-AF4A-B1B7-29A0-EA69A7E40E8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913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1" name="Text Placeholder 2">
            <a:extLst>
              <a:ext uri="{FF2B5EF4-FFF2-40B4-BE49-F238E27FC236}">
                <a16:creationId xmlns:a16="http://schemas.microsoft.com/office/drawing/2014/main" id="{78DC0064-B407-9D51-8C76-7BF1794B276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1852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2" name="Text Placeholder 2">
            <a:extLst>
              <a:ext uri="{FF2B5EF4-FFF2-40B4-BE49-F238E27FC236}">
                <a16:creationId xmlns:a16="http://schemas.microsoft.com/office/drawing/2014/main" id="{13AC2618-0544-C79D-5E8D-02CA3BE6F8B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97520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3" name="Text Placeholder 2">
            <a:extLst>
              <a:ext uri="{FF2B5EF4-FFF2-40B4-BE49-F238E27FC236}">
                <a16:creationId xmlns:a16="http://schemas.microsoft.com/office/drawing/2014/main" id="{1BECE144-F4F4-E27E-EF82-A377D69E33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3188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4" name="Text Placeholder 2">
            <a:extLst>
              <a:ext uri="{FF2B5EF4-FFF2-40B4-BE49-F238E27FC236}">
                <a16:creationId xmlns:a16="http://schemas.microsoft.com/office/drawing/2014/main" id="{F24AD8EC-B5A9-6B84-2A55-6CD1D3CC622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8856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5" name="Text Placeholder 2">
            <a:extLst>
              <a:ext uri="{FF2B5EF4-FFF2-40B4-BE49-F238E27FC236}">
                <a16:creationId xmlns:a16="http://schemas.microsoft.com/office/drawing/2014/main" id="{8BD25FCB-F4AD-92F7-4823-81157B715A0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44524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6" name="Text Placeholder 21">
            <a:extLst>
              <a:ext uri="{FF2B5EF4-FFF2-40B4-BE49-F238E27FC236}">
                <a16:creationId xmlns:a16="http://schemas.microsoft.com/office/drawing/2014/main" id="{99D700D4-52B7-A484-3FB8-9A20ABD28829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6914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7" name="Text Placeholder 21">
            <a:extLst>
              <a:ext uri="{FF2B5EF4-FFF2-40B4-BE49-F238E27FC236}">
                <a16:creationId xmlns:a16="http://schemas.microsoft.com/office/drawing/2014/main" id="{1370AA38-B305-2C9B-B03B-E097B2FB18D6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281853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6" name="Text Placeholder 21">
            <a:extLst>
              <a:ext uri="{FF2B5EF4-FFF2-40B4-BE49-F238E27FC236}">
                <a16:creationId xmlns:a16="http://schemas.microsoft.com/office/drawing/2014/main" id="{B2F0C684-D314-DF5E-B143-4BC38C938E5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197521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7" name="Text Placeholder 21">
            <a:extLst>
              <a:ext uri="{FF2B5EF4-FFF2-40B4-BE49-F238E27FC236}">
                <a16:creationId xmlns:a16="http://schemas.microsoft.com/office/drawing/2014/main" id="{9E4DBA66-2DEA-E3F4-D0E2-23870F9C8E1D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13189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8" name="Text Placeholder 21">
            <a:extLst>
              <a:ext uri="{FF2B5EF4-FFF2-40B4-BE49-F238E27FC236}">
                <a16:creationId xmlns:a16="http://schemas.microsoft.com/office/drawing/2014/main" id="{33B9AF83-92D4-252F-7EA7-10BB9428442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28857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9" name="Text Placeholder 21">
            <a:extLst>
              <a:ext uri="{FF2B5EF4-FFF2-40B4-BE49-F238E27FC236}">
                <a16:creationId xmlns:a16="http://schemas.microsoft.com/office/drawing/2014/main" id="{DC0A7E59-C698-4295-7322-5AD2EB2BA58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4525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0" name="Text Placeholder 2">
            <a:extLst>
              <a:ext uri="{FF2B5EF4-FFF2-40B4-BE49-F238E27FC236}">
                <a16:creationId xmlns:a16="http://schemas.microsoft.com/office/drawing/2014/main" id="{35B3A78F-6797-7C71-08F4-3764183BBA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3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1" name="Text Placeholder 2">
            <a:extLst>
              <a:ext uri="{FF2B5EF4-FFF2-40B4-BE49-F238E27FC236}">
                <a16:creationId xmlns:a16="http://schemas.microsoft.com/office/drawing/2014/main" id="{0B302895-3BB4-311C-9A35-DB437C9E47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81852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2" name="Text Placeholder 2">
            <a:extLst>
              <a:ext uri="{FF2B5EF4-FFF2-40B4-BE49-F238E27FC236}">
                <a16:creationId xmlns:a16="http://schemas.microsoft.com/office/drawing/2014/main" id="{D3A5B1B0-8D96-4200-A7F0-9AEBD9A5CB6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97520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3" name="Text Placeholder 2">
            <a:extLst>
              <a:ext uri="{FF2B5EF4-FFF2-40B4-BE49-F238E27FC236}">
                <a16:creationId xmlns:a16="http://schemas.microsoft.com/office/drawing/2014/main" id="{3DA23A45-4A20-B304-DF0D-DB7678CD01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3188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4" name="Text Placeholder 2">
            <a:extLst>
              <a:ext uri="{FF2B5EF4-FFF2-40B4-BE49-F238E27FC236}">
                <a16:creationId xmlns:a16="http://schemas.microsoft.com/office/drawing/2014/main" id="{2DA9A7EB-2A0E-0D1F-B540-2E7D5FF872F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28856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5" name="Text Placeholder 2">
            <a:extLst>
              <a:ext uri="{FF2B5EF4-FFF2-40B4-BE49-F238E27FC236}">
                <a16:creationId xmlns:a16="http://schemas.microsoft.com/office/drawing/2014/main" id="{6FDA01C5-E968-8D71-963E-60A24013B85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4524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31925EBC-73BC-5E27-ABEF-8526642180B2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76914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77E89166-3D0F-D8C6-4B28-983FA3F534D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13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69A977C7-BABE-D68D-5B99-7D7E3D9907FC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281853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6" name="Text Placeholder 21">
            <a:extLst>
              <a:ext uri="{FF2B5EF4-FFF2-40B4-BE49-F238E27FC236}">
                <a16:creationId xmlns:a16="http://schemas.microsoft.com/office/drawing/2014/main" id="{12B4B6A6-D5C2-DDAE-D588-1E129525B1CC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197521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AFDAD857-1D1B-7098-9882-EB2AA5DDEE1F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13189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1467748A-CCAF-EFE5-8618-4E2A5DEB5263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28857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0" name="Text Placeholder 21">
            <a:extLst>
              <a:ext uri="{FF2B5EF4-FFF2-40B4-BE49-F238E27FC236}">
                <a16:creationId xmlns:a16="http://schemas.microsoft.com/office/drawing/2014/main" id="{14E21924-33AF-43D9-0067-D034E6757CE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944525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5079BC17-A6BD-E41D-C9FA-2413240AB93E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2281852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8FABE390-B6BF-B169-348B-EB555788EFAC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197520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F024612-D70B-C6D2-182D-BE4753839767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13188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B979B3EC-1BDD-ECF6-8581-56AFA89AFC14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028856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86B1F8B7-3F93-BD97-A7E3-7CF500BCE3E7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944524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32013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ne"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CB9D383-5863-4165-A65B-A24AACAD1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42210"/>
            <a:ext cx="9884833" cy="384048"/>
          </a:xfrm>
        </p:spPr>
        <p:txBody>
          <a:bodyPr lIns="0"/>
          <a:lstStyle>
            <a:lvl1pPr>
              <a:defRPr/>
            </a:lvl1pPr>
          </a:lstStyle>
          <a:p>
            <a:r>
              <a:rPr lang="en-US"/>
              <a:t>Add title here</a:t>
            </a:r>
            <a:endParaRPr lang="en-US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B0FF4FF-E5D9-FAC6-B708-1AC23C3ADE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50594" y="228600"/>
            <a:ext cx="1652057" cy="411268"/>
          </a:xfrm>
        </p:spPr>
        <p:txBody>
          <a:bodyPr>
            <a:noAutofit/>
          </a:bodyPr>
          <a:lstStyle>
            <a:lvl1pPr marL="0" indent="0" algn="r">
              <a:buNone/>
              <a:defRPr sz="2400" b="0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65A319-3BE3-B703-B537-CDD2D2D698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914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E5EAA0D-AAE6-2B27-DBF1-6CB2AC8A4A9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81853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EABED0-9877-B182-B936-5B7D5C42EE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97521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DCBE9C3-F4A2-C61D-F222-B713D947049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13189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F55CCD-699B-2B4D-E012-47C5DD42B31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28857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10108122-0114-4233-1E31-7A47E98464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944525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6"/>
          </p:nvPr>
        </p:nvSpPr>
        <p:spPr>
          <a:xfrm>
            <a:off x="406400" y="6629400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C93A36-1BCE-4989-A484-BB2F32BA08F5}" type="datetimeFigureOut">
              <a:rPr lang="en-US" smtClean="0"/>
              <a:pPr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7"/>
          </p:nvPr>
        </p:nvSpPr>
        <p:spPr>
          <a:xfrm>
            <a:off x="4165600" y="6629400"/>
            <a:ext cx="3860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8"/>
          </p:nvPr>
        </p:nvSpPr>
        <p:spPr>
          <a:xfrm>
            <a:off x="8981016" y="6631641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CB5F7B-7C15-41FD-9488-0FCC5C0A130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Instructional Text"/>
          <p:cNvSpPr/>
          <p:nvPr/>
        </p:nvSpPr>
        <p:spPr>
          <a:xfrm>
            <a:off x="12395200" y="-26670"/>
            <a:ext cx="1524000" cy="6858000"/>
          </a:xfrm>
          <a:prstGeom prst="roundRect">
            <a:avLst>
              <a:gd name="adj" fmla="val 6795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Note: </a:t>
            </a:r>
          </a:p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 can print this template to use as a wall calendar.</a:t>
            </a:r>
            <a:r>
              <a:rPr lang="en-US" sz="1100" b="1" i="1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You can also copy the slide for any month to add to your own presentation.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37D0995D-3B02-3150-DC6B-7897CFEF4248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76914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23C4F2A7-B1C9-D57D-9A39-DF0C36A14CF3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281853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5897080C-562E-9F9E-A606-225AA7567EF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197521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EC664A28-F8B6-562D-7C7F-6DB553994584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13189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21">
            <a:extLst>
              <a:ext uri="{FF2B5EF4-FFF2-40B4-BE49-F238E27FC236}">
                <a16:creationId xmlns:a16="http://schemas.microsoft.com/office/drawing/2014/main" id="{26BD7907-C97F-C217-A2F3-2F7071457222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28857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1" name="Text Placeholder 21">
            <a:extLst>
              <a:ext uri="{FF2B5EF4-FFF2-40B4-BE49-F238E27FC236}">
                <a16:creationId xmlns:a16="http://schemas.microsoft.com/office/drawing/2014/main" id="{CFB3B4C2-3955-9DF4-FBA1-EA35BC585B8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44525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BE1D4A2-7D86-033F-E193-C4E0AABEE4BD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76913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D784FD8-239A-81A2-1761-5AA9FC591EF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281852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A09D521-8365-C996-9F16-FEB3A87AD55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197520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FDC2ACE-7212-BECB-6C62-4A83695D22FC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113188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B8523333-3C57-1D13-2D69-C222ADCC8944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028856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B2AB74BB-8C16-CB21-84DD-EC2379A4B9E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4524" y="1313069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2" name="Text Placeholder 21">
            <a:extLst>
              <a:ext uri="{FF2B5EF4-FFF2-40B4-BE49-F238E27FC236}">
                <a16:creationId xmlns:a16="http://schemas.microsoft.com/office/drawing/2014/main" id="{E1745DE7-CCBF-AC07-24D8-F1D2F8174ED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6914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3" name="Text Placeholder 21">
            <a:extLst>
              <a:ext uri="{FF2B5EF4-FFF2-40B4-BE49-F238E27FC236}">
                <a16:creationId xmlns:a16="http://schemas.microsoft.com/office/drawing/2014/main" id="{816C0E4C-E8AD-0D27-35D5-45DD75486E63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281853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4" name="Text Placeholder 21">
            <a:extLst>
              <a:ext uri="{FF2B5EF4-FFF2-40B4-BE49-F238E27FC236}">
                <a16:creationId xmlns:a16="http://schemas.microsoft.com/office/drawing/2014/main" id="{4E48A781-2296-61D5-FECB-D3CE853C2D7F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97521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5" name="Text Placeholder 21">
            <a:extLst>
              <a:ext uri="{FF2B5EF4-FFF2-40B4-BE49-F238E27FC236}">
                <a16:creationId xmlns:a16="http://schemas.microsoft.com/office/drawing/2014/main" id="{E6BC9836-CB8A-2D56-D166-3B48790806F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13189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6" name="Text Placeholder 21">
            <a:extLst>
              <a:ext uri="{FF2B5EF4-FFF2-40B4-BE49-F238E27FC236}">
                <a16:creationId xmlns:a16="http://schemas.microsoft.com/office/drawing/2014/main" id="{F519A837-7108-1C10-6619-274C72E86A34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28857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7" name="Text Placeholder 21">
            <a:extLst>
              <a:ext uri="{FF2B5EF4-FFF2-40B4-BE49-F238E27FC236}">
                <a16:creationId xmlns:a16="http://schemas.microsoft.com/office/drawing/2014/main" id="{20FB2C39-0914-79DB-259E-1B6D7A431B5D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44525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8" name="Text Placeholder 2">
            <a:extLst>
              <a:ext uri="{FF2B5EF4-FFF2-40B4-BE49-F238E27FC236}">
                <a16:creationId xmlns:a16="http://schemas.microsoft.com/office/drawing/2014/main" id="{4CB8FFF1-7B39-EA27-C1BB-26A9EAB644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913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9" name="Text Placeholder 2">
            <a:extLst>
              <a:ext uri="{FF2B5EF4-FFF2-40B4-BE49-F238E27FC236}">
                <a16:creationId xmlns:a16="http://schemas.microsoft.com/office/drawing/2014/main" id="{611D6D97-378E-65F0-45D9-112FE6FBE8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1852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0" name="Text Placeholder 2">
            <a:extLst>
              <a:ext uri="{FF2B5EF4-FFF2-40B4-BE49-F238E27FC236}">
                <a16:creationId xmlns:a16="http://schemas.microsoft.com/office/drawing/2014/main" id="{29712206-4625-D51E-9D90-F4D3611D89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97520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1" name="Text Placeholder 2">
            <a:extLst>
              <a:ext uri="{FF2B5EF4-FFF2-40B4-BE49-F238E27FC236}">
                <a16:creationId xmlns:a16="http://schemas.microsoft.com/office/drawing/2014/main" id="{8C55B87A-0F77-8424-9527-085D3D9F4D4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188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2" name="Text Placeholder 2">
            <a:extLst>
              <a:ext uri="{FF2B5EF4-FFF2-40B4-BE49-F238E27FC236}">
                <a16:creationId xmlns:a16="http://schemas.microsoft.com/office/drawing/2014/main" id="{D8F0636D-AFDB-AB32-0FC2-967E6634CC3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8856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3" name="Text Placeholder 2">
            <a:extLst>
              <a:ext uri="{FF2B5EF4-FFF2-40B4-BE49-F238E27FC236}">
                <a16:creationId xmlns:a16="http://schemas.microsoft.com/office/drawing/2014/main" id="{1FDB8DE0-ABB7-8EAE-8F47-A88242C1B197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44524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4" name="Text Placeholder 21">
            <a:extLst>
              <a:ext uri="{FF2B5EF4-FFF2-40B4-BE49-F238E27FC236}">
                <a16:creationId xmlns:a16="http://schemas.microsoft.com/office/drawing/2014/main" id="{13D073E4-0863-17E3-A11F-CFC0F27CA81E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6914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5" name="Text Placeholder 21">
            <a:extLst>
              <a:ext uri="{FF2B5EF4-FFF2-40B4-BE49-F238E27FC236}">
                <a16:creationId xmlns:a16="http://schemas.microsoft.com/office/drawing/2014/main" id="{36DE941E-611B-0AEA-1328-FC7A9A97491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281853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6" name="Text Placeholder 21">
            <a:extLst>
              <a:ext uri="{FF2B5EF4-FFF2-40B4-BE49-F238E27FC236}">
                <a16:creationId xmlns:a16="http://schemas.microsoft.com/office/drawing/2014/main" id="{00CBAA8D-FCE3-9DB3-4BE3-A33E6EDE020A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97521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7" name="Text Placeholder 21">
            <a:extLst>
              <a:ext uri="{FF2B5EF4-FFF2-40B4-BE49-F238E27FC236}">
                <a16:creationId xmlns:a16="http://schemas.microsoft.com/office/drawing/2014/main" id="{5E2CA6B8-D22B-AFE1-3AFC-A6FFF5E656CF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3189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8" name="Text Placeholder 21">
            <a:extLst>
              <a:ext uri="{FF2B5EF4-FFF2-40B4-BE49-F238E27FC236}">
                <a16:creationId xmlns:a16="http://schemas.microsoft.com/office/drawing/2014/main" id="{9FC3DAEF-8F1A-8F2A-421B-8627F3891772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28857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9" name="Text Placeholder 21">
            <a:extLst>
              <a:ext uri="{FF2B5EF4-FFF2-40B4-BE49-F238E27FC236}">
                <a16:creationId xmlns:a16="http://schemas.microsoft.com/office/drawing/2014/main" id="{85CD3196-72CF-1065-C2EE-A1E08C4AB5D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944525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0" name="Text Placeholder 2">
            <a:extLst>
              <a:ext uri="{FF2B5EF4-FFF2-40B4-BE49-F238E27FC236}">
                <a16:creationId xmlns:a16="http://schemas.microsoft.com/office/drawing/2014/main" id="{F6D73429-B24A-8725-663A-0C86BB3340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913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1" name="Text Placeholder 2">
            <a:extLst>
              <a:ext uri="{FF2B5EF4-FFF2-40B4-BE49-F238E27FC236}">
                <a16:creationId xmlns:a16="http://schemas.microsoft.com/office/drawing/2014/main" id="{582B48FA-8153-D664-CC08-8E477721AD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1852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2" name="Text Placeholder 2">
            <a:extLst>
              <a:ext uri="{FF2B5EF4-FFF2-40B4-BE49-F238E27FC236}">
                <a16:creationId xmlns:a16="http://schemas.microsoft.com/office/drawing/2014/main" id="{8891AD91-2155-9E9B-5ECA-5449F0C3E58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97520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3" name="Text Placeholder 2">
            <a:extLst>
              <a:ext uri="{FF2B5EF4-FFF2-40B4-BE49-F238E27FC236}">
                <a16:creationId xmlns:a16="http://schemas.microsoft.com/office/drawing/2014/main" id="{81EDFD42-AF5C-7BF2-0690-E730B9C6649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3188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4" name="Text Placeholder 2">
            <a:extLst>
              <a:ext uri="{FF2B5EF4-FFF2-40B4-BE49-F238E27FC236}">
                <a16:creationId xmlns:a16="http://schemas.microsoft.com/office/drawing/2014/main" id="{B19B8E39-3398-6AE0-A23B-AF62D0B39A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28856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5" name="Text Placeholder 2">
            <a:extLst>
              <a:ext uri="{FF2B5EF4-FFF2-40B4-BE49-F238E27FC236}">
                <a16:creationId xmlns:a16="http://schemas.microsoft.com/office/drawing/2014/main" id="{C8113AC9-B9AB-CA2C-A381-36E0361001E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44524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6" name="Text Placeholder 21">
            <a:extLst>
              <a:ext uri="{FF2B5EF4-FFF2-40B4-BE49-F238E27FC236}">
                <a16:creationId xmlns:a16="http://schemas.microsoft.com/office/drawing/2014/main" id="{C325326D-8D0D-28DD-73F1-A950782F232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6914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7" name="Text Placeholder 21">
            <a:extLst>
              <a:ext uri="{FF2B5EF4-FFF2-40B4-BE49-F238E27FC236}">
                <a16:creationId xmlns:a16="http://schemas.microsoft.com/office/drawing/2014/main" id="{61808FE7-83B3-FF51-E2F7-2FEAEF3186D6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281853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8" name="Text Placeholder 21">
            <a:extLst>
              <a:ext uri="{FF2B5EF4-FFF2-40B4-BE49-F238E27FC236}">
                <a16:creationId xmlns:a16="http://schemas.microsoft.com/office/drawing/2014/main" id="{0D1170B5-9471-92D5-698A-EB2CAEC858A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521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9" name="Text Placeholder 21">
            <a:extLst>
              <a:ext uri="{FF2B5EF4-FFF2-40B4-BE49-F238E27FC236}">
                <a16:creationId xmlns:a16="http://schemas.microsoft.com/office/drawing/2014/main" id="{90E0EA77-618E-351C-4582-4AC537C97CE6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113189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0" name="Text Placeholder 21">
            <a:extLst>
              <a:ext uri="{FF2B5EF4-FFF2-40B4-BE49-F238E27FC236}">
                <a16:creationId xmlns:a16="http://schemas.microsoft.com/office/drawing/2014/main" id="{206E046F-8E82-05D0-68C7-38FD6A28B267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28857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1" name="Text Placeholder 21">
            <a:extLst>
              <a:ext uri="{FF2B5EF4-FFF2-40B4-BE49-F238E27FC236}">
                <a16:creationId xmlns:a16="http://schemas.microsoft.com/office/drawing/2014/main" id="{1CC8283B-CF34-D0F0-B25A-CAA204F63C0A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44525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2" name="Text Placeholder 2">
            <a:extLst>
              <a:ext uri="{FF2B5EF4-FFF2-40B4-BE49-F238E27FC236}">
                <a16:creationId xmlns:a16="http://schemas.microsoft.com/office/drawing/2014/main" id="{A1CAD2AE-A097-FF80-722D-9713AF29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913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3" name="Text Placeholder 2">
            <a:extLst>
              <a:ext uri="{FF2B5EF4-FFF2-40B4-BE49-F238E27FC236}">
                <a16:creationId xmlns:a16="http://schemas.microsoft.com/office/drawing/2014/main" id="{4C639836-573B-6A74-AD84-A934CF50A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1852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4" name="Text Placeholder 2">
            <a:extLst>
              <a:ext uri="{FF2B5EF4-FFF2-40B4-BE49-F238E27FC236}">
                <a16:creationId xmlns:a16="http://schemas.microsoft.com/office/drawing/2014/main" id="{8B345AA3-3AF0-741F-2E3F-8916283A21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97520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5" name="Text Placeholder 2">
            <a:extLst>
              <a:ext uri="{FF2B5EF4-FFF2-40B4-BE49-F238E27FC236}">
                <a16:creationId xmlns:a16="http://schemas.microsoft.com/office/drawing/2014/main" id="{D1098F3E-8E5B-1397-E2EB-026F19465E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3188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6" name="Text Placeholder 2">
            <a:extLst>
              <a:ext uri="{FF2B5EF4-FFF2-40B4-BE49-F238E27FC236}">
                <a16:creationId xmlns:a16="http://schemas.microsoft.com/office/drawing/2014/main" id="{4BDD20FA-44F5-AC42-F5B2-81BBDC9040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8856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7" name="Text Placeholder 2">
            <a:extLst>
              <a:ext uri="{FF2B5EF4-FFF2-40B4-BE49-F238E27FC236}">
                <a16:creationId xmlns:a16="http://schemas.microsoft.com/office/drawing/2014/main" id="{1504322D-6958-A6CA-686A-78C0310E3F3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44524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44" name="Text Placeholder 21">
            <a:extLst>
              <a:ext uri="{FF2B5EF4-FFF2-40B4-BE49-F238E27FC236}">
                <a16:creationId xmlns:a16="http://schemas.microsoft.com/office/drawing/2014/main" id="{06B837FE-9A94-8960-B067-92563CBF0FE8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6914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5" name="Text Placeholder 21">
            <a:extLst>
              <a:ext uri="{FF2B5EF4-FFF2-40B4-BE49-F238E27FC236}">
                <a16:creationId xmlns:a16="http://schemas.microsoft.com/office/drawing/2014/main" id="{04E3DFA2-A7F5-FEF4-FFDF-DAB3EA74E556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281853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6" name="Text Placeholder 21">
            <a:extLst>
              <a:ext uri="{FF2B5EF4-FFF2-40B4-BE49-F238E27FC236}">
                <a16:creationId xmlns:a16="http://schemas.microsoft.com/office/drawing/2014/main" id="{72D73688-9456-7494-9A3C-706B10C185B3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197521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7" name="Text Placeholder 21">
            <a:extLst>
              <a:ext uri="{FF2B5EF4-FFF2-40B4-BE49-F238E27FC236}">
                <a16:creationId xmlns:a16="http://schemas.microsoft.com/office/drawing/2014/main" id="{FC820426-B7E7-A73C-695D-1360D98B3014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13189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8" name="Text Placeholder 21">
            <a:extLst>
              <a:ext uri="{FF2B5EF4-FFF2-40B4-BE49-F238E27FC236}">
                <a16:creationId xmlns:a16="http://schemas.microsoft.com/office/drawing/2014/main" id="{D256C196-5D5E-8E3A-5734-72BA3BAC1073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28857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9" name="Text Placeholder 21">
            <a:extLst>
              <a:ext uri="{FF2B5EF4-FFF2-40B4-BE49-F238E27FC236}">
                <a16:creationId xmlns:a16="http://schemas.microsoft.com/office/drawing/2014/main" id="{92A2FEF2-7954-4613-BEDF-903D5526CD53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4525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0" name="Text Placeholder 2">
            <a:extLst>
              <a:ext uri="{FF2B5EF4-FFF2-40B4-BE49-F238E27FC236}">
                <a16:creationId xmlns:a16="http://schemas.microsoft.com/office/drawing/2014/main" id="{9F724C07-0234-4F2C-3BCE-BE30BD6039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3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1" name="Text Placeholder 2">
            <a:extLst>
              <a:ext uri="{FF2B5EF4-FFF2-40B4-BE49-F238E27FC236}">
                <a16:creationId xmlns:a16="http://schemas.microsoft.com/office/drawing/2014/main" id="{739BABB9-E1C6-37B1-DF29-D3C9EB3712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81852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2" name="Text Placeholder 2">
            <a:extLst>
              <a:ext uri="{FF2B5EF4-FFF2-40B4-BE49-F238E27FC236}">
                <a16:creationId xmlns:a16="http://schemas.microsoft.com/office/drawing/2014/main" id="{F8C7B1CE-3063-FE30-A42B-C309F6B2C3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97520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3" name="Text Placeholder 2">
            <a:extLst>
              <a:ext uri="{FF2B5EF4-FFF2-40B4-BE49-F238E27FC236}">
                <a16:creationId xmlns:a16="http://schemas.microsoft.com/office/drawing/2014/main" id="{066ED392-2370-59F0-AF73-02B0BCF80CF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3188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4" name="Text Placeholder 2">
            <a:extLst>
              <a:ext uri="{FF2B5EF4-FFF2-40B4-BE49-F238E27FC236}">
                <a16:creationId xmlns:a16="http://schemas.microsoft.com/office/drawing/2014/main" id="{5BC3CB71-E951-5804-60B2-9D088A62759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28856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5" name="Text Placeholder 2">
            <a:extLst>
              <a:ext uri="{FF2B5EF4-FFF2-40B4-BE49-F238E27FC236}">
                <a16:creationId xmlns:a16="http://schemas.microsoft.com/office/drawing/2014/main" id="{ADAD28F5-FDC8-30EE-697F-27AC8FC69D6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4524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9" name="Text Placeholder 21">
            <a:extLst>
              <a:ext uri="{FF2B5EF4-FFF2-40B4-BE49-F238E27FC236}">
                <a16:creationId xmlns:a16="http://schemas.microsoft.com/office/drawing/2014/main" id="{E94A2FE4-69DB-A5CE-7357-0144310F9C6C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76914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1A8A15BA-4DEF-5C0D-430D-B59911AAC95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13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96B5004D-C519-9295-0F57-4502E437CE65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281853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6" name="Text Placeholder 21">
            <a:extLst>
              <a:ext uri="{FF2B5EF4-FFF2-40B4-BE49-F238E27FC236}">
                <a16:creationId xmlns:a16="http://schemas.microsoft.com/office/drawing/2014/main" id="{C616C191-3B14-89FB-3D7D-CFC3C9C19619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197521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01019361-5114-077B-D3A1-8E2191615E5E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13189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9" name="Text Placeholder 21">
            <a:extLst>
              <a:ext uri="{FF2B5EF4-FFF2-40B4-BE49-F238E27FC236}">
                <a16:creationId xmlns:a16="http://schemas.microsoft.com/office/drawing/2014/main" id="{D5901B6B-3262-6E55-3C43-D9AAA9B4288A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28857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0" name="Text Placeholder 21">
            <a:extLst>
              <a:ext uri="{FF2B5EF4-FFF2-40B4-BE49-F238E27FC236}">
                <a16:creationId xmlns:a16="http://schemas.microsoft.com/office/drawing/2014/main" id="{3A660B9C-F0BC-BDB4-EDC0-0F31FF32E554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944525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29E36C12-84A1-95E8-3161-8C0C3EBDFFE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2281852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EF90984B-1C70-9DB3-138A-87544D893FF4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197520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C3A9B539-609C-4333-ED15-B9C1292887D2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13188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1F439EC8-052B-6E2D-E0AA-50470B235A09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028856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3DDE706F-36BC-8203-564E-A677DB37C87F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944524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5783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5912062"/>
      </p:ext>
    </p:extLst>
  </p:cSld>
  <p:clrMapOvr>
    <a:masterClrMapping/>
  </p:clrMapOvr>
  <p:hf sldNum="0"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y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CB9D383-5863-4165-A65B-A24AACAD1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42210"/>
            <a:ext cx="9884833" cy="384048"/>
          </a:xfrm>
        </p:spPr>
        <p:txBody>
          <a:bodyPr lIns="0"/>
          <a:lstStyle>
            <a:lvl1pPr>
              <a:defRPr/>
            </a:lvl1pPr>
          </a:lstStyle>
          <a:p>
            <a:r>
              <a:rPr lang="en-US"/>
              <a:t>Add title here</a:t>
            </a:r>
            <a:endParaRPr lang="en-US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B0FF4FF-E5D9-FAC6-B708-1AC23C3ADE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50594" y="228600"/>
            <a:ext cx="1652057" cy="411268"/>
          </a:xfrm>
        </p:spPr>
        <p:txBody>
          <a:bodyPr>
            <a:noAutofit/>
          </a:bodyPr>
          <a:lstStyle>
            <a:lvl1pPr marL="0" indent="0" algn="r">
              <a:buNone/>
              <a:defRPr sz="2400" b="0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65A319-3BE3-B703-B537-CDD2D2D698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914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E5EAA0D-AAE6-2B27-DBF1-6CB2AC8A4A9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81853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EABED0-9877-B182-B936-5B7D5C42EE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97521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DCBE9C3-F4A2-C61D-F222-B713D947049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13189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F55CCD-699B-2B4D-E012-47C5DD42B31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28857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10108122-0114-4233-1E31-7A47E98464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944525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6"/>
          </p:nvPr>
        </p:nvSpPr>
        <p:spPr>
          <a:xfrm>
            <a:off x="406400" y="6629400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C93A36-1BCE-4989-A484-BB2F32BA08F5}" type="datetimeFigureOut">
              <a:rPr lang="en-US" smtClean="0"/>
              <a:pPr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7"/>
          </p:nvPr>
        </p:nvSpPr>
        <p:spPr>
          <a:xfrm>
            <a:off x="4165600" y="6629400"/>
            <a:ext cx="3860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8"/>
          </p:nvPr>
        </p:nvSpPr>
        <p:spPr>
          <a:xfrm>
            <a:off x="8981016" y="6631641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CB5F7B-7C15-41FD-9488-0FCC5C0A130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Instructional Text"/>
          <p:cNvSpPr/>
          <p:nvPr/>
        </p:nvSpPr>
        <p:spPr>
          <a:xfrm>
            <a:off x="12395200" y="-26670"/>
            <a:ext cx="1524000" cy="6858000"/>
          </a:xfrm>
          <a:prstGeom prst="roundRect">
            <a:avLst>
              <a:gd name="adj" fmla="val 6795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Note: </a:t>
            </a:r>
          </a:p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 can print this template to use as a wall calendar.</a:t>
            </a:r>
            <a:r>
              <a:rPr lang="en-US" sz="1100" b="1" i="1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You can also copy the slide for any month to add to your own presentation.</a:t>
            </a:r>
          </a:p>
        </p:txBody>
      </p:sp>
      <p:sp>
        <p:nvSpPr>
          <p:cNvPr id="6" name="Text Placeholder 21">
            <a:extLst>
              <a:ext uri="{FF2B5EF4-FFF2-40B4-BE49-F238E27FC236}">
                <a16:creationId xmlns:a16="http://schemas.microsoft.com/office/drawing/2014/main" id="{23C658C2-CCA9-7D37-5C5A-5728DFCC10AC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76914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4A161F6D-084C-9783-AE89-3814C10CF9E2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281853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" name="Text Placeholder 21">
            <a:extLst>
              <a:ext uri="{FF2B5EF4-FFF2-40B4-BE49-F238E27FC236}">
                <a16:creationId xmlns:a16="http://schemas.microsoft.com/office/drawing/2014/main" id="{39176486-90D2-7638-2222-E45CC4C40D81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197521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" name="Text Placeholder 21">
            <a:extLst>
              <a:ext uri="{FF2B5EF4-FFF2-40B4-BE49-F238E27FC236}">
                <a16:creationId xmlns:a16="http://schemas.microsoft.com/office/drawing/2014/main" id="{31C67659-F39B-D92B-C7D2-69DE7D91BC49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13189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Text Placeholder 21">
            <a:extLst>
              <a:ext uri="{FF2B5EF4-FFF2-40B4-BE49-F238E27FC236}">
                <a16:creationId xmlns:a16="http://schemas.microsoft.com/office/drawing/2014/main" id="{15210A80-6183-7D2E-0B34-DDE0C260A340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28857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A592F7D9-A91A-0678-0B89-6D525FAC4DF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44525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C20390B-FA11-9903-FFD4-0F1B445B1FBE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76913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F49EA979-7CF5-7255-5EB9-5D2E05C53915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281852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F580E5D-2801-6A32-A463-47B0C1D5F2A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197520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AE7F0E7-DF2D-4399-2523-AC36F56CDEF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113188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9FD0BEF-6461-B98A-076F-640CF7775371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028856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A2E6D7E-6520-ACF4-2BE7-D558839D812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4524" y="1313069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D6073877-227C-B19D-11A3-666C6AC36D28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6914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F466CDA-4D4B-EF24-96B9-6C7C9690DA38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281853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C46D972D-BD61-E731-5CB3-521D8CA3D906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97521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83BF1A27-B494-0787-5BF8-939C26A42A24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13189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98FCA798-0957-C7FE-8721-23AD29002B1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28857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5388D1BE-9887-7A1E-3B95-20A0A320463E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44525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DCDBC4A6-7479-36FC-1107-28988B0B51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913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B3925DF-3B02-8811-996F-55978307DE5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1852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007F60D3-BC03-A816-C431-F5BCEC30D9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97520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4A3D427F-3E33-8890-D71E-976353FA89C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188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1A95A2E7-E700-5AFA-3C2C-44A5E61EF63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8856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ACE8E98-582B-493A-2524-28FEE3E66D9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44524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3" name="Text Placeholder 21">
            <a:extLst>
              <a:ext uri="{FF2B5EF4-FFF2-40B4-BE49-F238E27FC236}">
                <a16:creationId xmlns:a16="http://schemas.microsoft.com/office/drawing/2014/main" id="{FF07A96A-C15D-D496-EECF-7AFB4AD8E22C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6914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2" name="Text Placeholder 21">
            <a:extLst>
              <a:ext uri="{FF2B5EF4-FFF2-40B4-BE49-F238E27FC236}">
                <a16:creationId xmlns:a16="http://schemas.microsoft.com/office/drawing/2014/main" id="{082C89C3-5576-0A9E-45CD-7BE741A6A37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281853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3" name="Text Placeholder 21">
            <a:extLst>
              <a:ext uri="{FF2B5EF4-FFF2-40B4-BE49-F238E27FC236}">
                <a16:creationId xmlns:a16="http://schemas.microsoft.com/office/drawing/2014/main" id="{2EDB76B5-DB84-DDEC-5E14-EBA57BE0A363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97521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4" name="Text Placeholder 21">
            <a:extLst>
              <a:ext uri="{FF2B5EF4-FFF2-40B4-BE49-F238E27FC236}">
                <a16:creationId xmlns:a16="http://schemas.microsoft.com/office/drawing/2014/main" id="{2B9EFC45-C7C5-FABA-F4E7-2ECC2E6E3D9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3189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5" name="Text Placeholder 21">
            <a:extLst>
              <a:ext uri="{FF2B5EF4-FFF2-40B4-BE49-F238E27FC236}">
                <a16:creationId xmlns:a16="http://schemas.microsoft.com/office/drawing/2014/main" id="{F2B10BEA-E433-1E1D-3BD2-C284A787914F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28857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6" name="Text Placeholder 21">
            <a:extLst>
              <a:ext uri="{FF2B5EF4-FFF2-40B4-BE49-F238E27FC236}">
                <a16:creationId xmlns:a16="http://schemas.microsoft.com/office/drawing/2014/main" id="{79E7909D-84FF-73FE-11F3-8AF24E44CA94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944525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7" name="Text Placeholder 2">
            <a:extLst>
              <a:ext uri="{FF2B5EF4-FFF2-40B4-BE49-F238E27FC236}">
                <a16:creationId xmlns:a16="http://schemas.microsoft.com/office/drawing/2014/main" id="{7D7602E9-C938-7268-7743-29917D6A17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913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8" name="Text Placeholder 2">
            <a:extLst>
              <a:ext uri="{FF2B5EF4-FFF2-40B4-BE49-F238E27FC236}">
                <a16:creationId xmlns:a16="http://schemas.microsoft.com/office/drawing/2014/main" id="{4BF29F4C-E02D-0A2C-3283-9091F544A39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1852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9" name="Text Placeholder 2">
            <a:extLst>
              <a:ext uri="{FF2B5EF4-FFF2-40B4-BE49-F238E27FC236}">
                <a16:creationId xmlns:a16="http://schemas.microsoft.com/office/drawing/2014/main" id="{BB5BB35F-E9ED-ECC0-383B-46126AC95CE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97520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0" name="Text Placeholder 2">
            <a:extLst>
              <a:ext uri="{FF2B5EF4-FFF2-40B4-BE49-F238E27FC236}">
                <a16:creationId xmlns:a16="http://schemas.microsoft.com/office/drawing/2014/main" id="{C9BA08D9-296A-6A64-210F-6B612528F60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3188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1" name="Text Placeholder 2">
            <a:extLst>
              <a:ext uri="{FF2B5EF4-FFF2-40B4-BE49-F238E27FC236}">
                <a16:creationId xmlns:a16="http://schemas.microsoft.com/office/drawing/2014/main" id="{851A0EBC-317C-5A42-D05F-3C6F1AE6C82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28856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2" name="Text Placeholder 2">
            <a:extLst>
              <a:ext uri="{FF2B5EF4-FFF2-40B4-BE49-F238E27FC236}">
                <a16:creationId xmlns:a16="http://schemas.microsoft.com/office/drawing/2014/main" id="{537ABC06-CFB7-02D9-C57F-868DE6C08E1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44524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3" name="Text Placeholder 21">
            <a:extLst>
              <a:ext uri="{FF2B5EF4-FFF2-40B4-BE49-F238E27FC236}">
                <a16:creationId xmlns:a16="http://schemas.microsoft.com/office/drawing/2014/main" id="{EA62A11A-4146-91F5-652C-B2CA31655FF5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6914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4" name="Text Placeholder 21">
            <a:extLst>
              <a:ext uri="{FF2B5EF4-FFF2-40B4-BE49-F238E27FC236}">
                <a16:creationId xmlns:a16="http://schemas.microsoft.com/office/drawing/2014/main" id="{5413BC03-4E5B-3955-47F0-52F8A9610B83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281853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5" name="Text Placeholder 21">
            <a:extLst>
              <a:ext uri="{FF2B5EF4-FFF2-40B4-BE49-F238E27FC236}">
                <a16:creationId xmlns:a16="http://schemas.microsoft.com/office/drawing/2014/main" id="{D24ABAE7-4B27-7013-9E6A-4BDFD148691D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521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6" name="Text Placeholder 21">
            <a:extLst>
              <a:ext uri="{FF2B5EF4-FFF2-40B4-BE49-F238E27FC236}">
                <a16:creationId xmlns:a16="http://schemas.microsoft.com/office/drawing/2014/main" id="{30E4EDD4-16D5-7413-E674-D793A638B465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113189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7" name="Text Placeholder 21">
            <a:extLst>
              <a:ext uri="{FF2B5EF4-FFF2-40B4-BE49-F238E27FC236}">
                <a16:creationId xmlns:a16="http://schemas.microsoft.com/office/drawing/2014/main" id="{8E17A6D7-052D-21B4-AA30-F9F992F6D4F8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28857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8" name="Text Placeholder 21">
            <a:extLst>
              <a:ext uri="{FF2B5EF4-FFF2-40B4-BE49-F238E27FC236}">
                <a16:creationId xmlns:a16="http://schemas.microsoft.com/office/drawing/2014/main" id="{CF3F2E95-C918-4538-8B1F-E6F347CEF8A7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44525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9" name="Text Placeholder 2">
            <a:extLst>
              <a:ext uri="{FF2B5EF4-FFF2-40B4-BE49-F238E27FC236}">
                <a16:creationId xmlns:a16="http://schemas.microsoft.com/office/drawing/2014/main" id="{27EBE0F1-EC0C-0832-5197-095C7AE32F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913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0" name="Text Placeholder 2">
            <a:extLst>
              <a:ext uri="{FF2B5EF4-FFF2-40B4-BE49-F238E27FC236}">
                <a16:creationId xmlns:a16="http://schemas.microsoft.com/office/drawing/2014/main" id="{0BBBD6B1-28DC-0EA7-89A5-A318BF8942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1852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1" name="Text Placeholder 2">
            <a:extLst>
              <a:ext uri="{FF2B5EF4-FFF2-40B4-BE49-F238E27FC236}">
                <a16:creationId xmlns:a16="http://schemas.microsoft.com/office/drawing/2014/main" id="{2C0D2593-4D18-474E-737D-C0612EF6751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97520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2" name="Text Placeholder 2">
            <a:extLst>
              <a:ext uri="{FF2B5EF4-FFF2-40B4-BE49-F238E27FC236}">
                <a16:creationId xmlns:a16="http://schemas.microsoft.com/office/drawing/2014/main" id="{75498B20-7B1F-7D7D-4646-644932B9E6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3188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3" name="Text Placeholder 2">
            <a:extLst>
              <a:ext uri="{FF2B5EF4-FFF2-40B4-BE49-F238E27FC236}">
                <a16:creationId xmlns:a16="http://schemas.microsoft.com/office/drawing/2014/main" id="{EE2CABCD-C46D-6223-8DDA-9A043D4BB5B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8856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4" name="Text Placeholder 2">
            <a:extLst>
              <a:ext uri="{FF2B5EF4-FFF2-40B4-BE49-F238E27FC236}">
                <a16:creationId xmlns:a16="http://schemas.microsoft.com/office/drawing/2014/main" id="{85C5D1DC-47F5-0CC2-F924-A07619A1A9C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44524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5" name="Text Placeholder 21">
            <a:extLst>
              <a:ext uri="{FF2B5EF4-FFF2-40B4-BE49-F238E27FC236}">
                <a16:creationId xmlns:a16="http://schemas.microsoft.com/office/drawing/2014/main" id="{06D76036-0DA5-928F-C211-E7C44FC20D36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6914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6" name="Text Placeholder 21">
            <a:extLst>
              <a:ext uri="{FF2B5EF4-FFF2-40B4-BE49-F238E27FC236}">
                <a16:creationId xmlns:a16="http://schemas.microsoft.com/office/drawing/2014/main" id="{ECCB787D-C086-445C-02F5-DA3388276858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281853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7" name="Text Placeholder 21">
            <a:extLst>
              <a:ext uri="{FF2B5EF4-FFF2-40B4-BE49-F238E27FC236}">
                <a16:creationId xmlns:a16="http://schemas.microsoft.com/office/drawing/2014/main" id="{452824FE-C155-9661-CE89-1E12057C61F3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197521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8" name="Text Placeholder 21">
            <a:extLst>
              <a:ext uri="{FF2B5EF4-FFF2-40B4-BE49-F238E27FC236}">
                <a16:creationId xmlns:a16="http://schemas.microsoft.com/office/drawing/2014/main" id="{9CC4A36D-A516-7D33-FEB5-CE6071EC5C3C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13189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9" name="Text Placeholder 21">
            <a:extLst>
              <a:ext uri="{FF2B5EF4-FFF2-40B4-BE49-F238E27FC236}">
                <a16:creationId xmlns:a16="http://schemas.microsoft.com/office/drawing/2014/main" id="{A156ADF9-D79B-335F-2056-441856F9B87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28857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0" name="Text Placeholder 21">
            <a:extLst>
              <a:ext uri="{FF2B5EF4-FFF2-40B4-BE49-F238E27FC236}">
                <a16:creationId xmlns:a16="http://schemas.microsoft.com/office/drawing/2014/main" id="{5F24D66B-71AA-26CC-FB7F-48EC9FA10291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4525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1" name="Text Placeholder 2">
            <a:extLst>
              <a:ext uri="{FF2B5EF4-FFF2-40B4-BE49-F238E27FC236}">
                <a16:creationId xmlns:a16="http://schemas.microsoft.com/office/drawing/2014/main" id="{E4BAB351-0378-AF11-BE20-E9737FFFB4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3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2" name="Text Placeholder 2">
            <a:extLst>
              <a:ext uri="{FF2B5EF4-FFF2-40B4-BE49-F238E27FC236}">
                <a16:creationId xmlns:a16="http://schemas.microsoft.com/office/drawing/2014/main" id="{8760DA18-D6DF-53A4-0657-FD6B988917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81852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3" name="Text Placeholder 2">
            <a:extLst>
              <a:ext uri="{FF2B5EF4-FFF2-40B4-BE49-F238E27FC236}">
                <a16:creationId xmlns:a16="http://schemas.microsoft.com/office/drawing/2014/main" id="{C7E34D4E-6ABF-6188-7F41-B8682A7352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97520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4" name="Text Placeholder 2">
            <a:extLst>
              <a:ext uri="{FF2B5EF4-FFF2-40B4-BE49-F238E27FC236}">
                <a16:creationId xmlns:a16="http://schemas.microsoft.com/office/drawing/2014/main" id="{2327D909-1DBD-18E8-4D24-48778536711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3188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5" name="Text Placeholder 2">
            <a:extLst>
              <a:ext uri="{FF2B5EF4-FFF2-40B4-BE49-F238E27FC236}">
                <a16:creationId xmlns:a16="http://schemas.microsoft.com/office/drawing/2014/main" id="{8C838632-1062-D799-8E9D-4571D219DE3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28856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6" name="Text Placeholder 2">
            <a:extLst>
              <a:ext uri="{FF2B5EF4-FFF2-40B4-BE49-F238E27FC236}">
                <a16:creationId xmlns:a16="http://schemas.microsoft.com/office/drawing/2014/main" id="{ADF86B72-9527-0782-8009-B28346B8299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4524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7" name="Text Placeholder 21">
            <a:extLst>
              <a:ext uri="{FF2B5EF4-FFF2-40B4-BE49-F238E27FC236}">
                <a16:creationId xmlns:a16="http://schemas.microsoft.com/office/drawing/2014/main" id="{B9E9B1DB-1111-BA13-6F36-2F257D9A243A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76914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8" name="Text Placeholder 2">
            <a:extLst>
              <a:ext uri="{FF2B5EF4-FFF2-40B4-BE49-F238E27FC236}">
                <a16:creationId xmlns:a16="http://schemas.microsoft.com/office/drawing/2014/main" id="{DEBFD5F9-288D-1473-1BB1-54B2FE8A90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13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49" name="Text Placeholder 21">
            <a:extLst>
              <a:ext uri="{FF2B5EF4-FFF2-40B4-BE49-F238E27FC236}">
                <a16:creationId xmlns:a16="http://schemas.microsoft.com/office/drawing/2014/main" id="{59F9C79A-EDC5-FE21-398C-21AE729ED071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281853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0" name="Text Placeholder 21">
            <a:extLst>
              <a:ext uri="{FF2B5EF4-FFF2-40B4-BE49-F238E27FC236}">
                <a16:creationId xmlns:a16="http://schemas.microsoft.com/office/drawing/2014/main" id="{4142546D-119D-C42C-661A-3A476C49586A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197521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1" name="Text Placeholder 21">
            <a:extLst>
              <a:ext uri="{FF2B5EF4-FFF2-40B4-BE49-F238E27FC236}">
                <a16:creationId xmlns:a16="http://schemas.microsoft.com/office/drawing/2014/main" id="{D797AFB8-A1BB-41C9-EEFA-82DFFD87A050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13189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2" name="Text Placeholder 21">
            <a:extLst>
              <a:ext uri="{FF2B5EF4-FFF2-40B4-BE49-F238E27FC236}">
                <a16:creationId xmlns:a16="http://schemas.microsoft.com/office/drawing/2014/main" id="{DC94B6CB-FD97-1BBB-81F5-4FEF47C99741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28857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3" name="Text Placeholder 21">
            <a:extLst>
              <a:ext uri="{FF2B5EF4-FFF2-40B4-BE49-F238E27FC236}">
                <a16:creationId xmlns:a16="http://schemas.microsoft.com/office/drawing/2014/main" id="{505B7E51-833B-1483-C456-9A41BE03399C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944525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4" name="Text Placeholder 2">
            <a:extLst>
              <a:ext uri="{FF2B5EF4-FFF2-40B4-BE49-F238E27FC236}">
                <a16:creationId xmlns:a16="http://schemas.microsoft.com/office/drawing/2014/main" id="{A0FE6705-CF77-2979-16BC-2CFC4514E1D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2281852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5" name="Text Placeholder 2">
            <a:extLst>
              <a:ext uri="{FF2B5EF4-FFF2-40B4-BE49-F238E27FC236}">
                <a16:creationId xmlns:a16="http://schemas.microsoft.com/office/drawing/2014/main" id="{025F9500-5F71-D42F-993B-600ECDC2A09E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197520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E8FB7EA2-55A9-9F68-D2D0-E66599C28DCA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13188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AFF3F6A8-EBB7-0B19-D082-4639C8FA4646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028856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9EBA0DD5-662F-4D71-78D7-E10CD937A858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944524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63295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ril">
    <p:bg>
      <p:bgPr>
        <a:solidFill>
          <a:schemeClr val="accent4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CB9D383-5863-4165-A65B-A24AACAD1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42210"/>
            <a:ext cx="9884833" cy="384048"/>
          </a:xfrm>
        </p:spPr>
        <p:txBody>
          <a:bodyPr lIns="0"/>
          <a:lstStyle>
            <a:lvl1pPr>
              <a:defRPr/>
            </a:lvl1pPr>
          </a:lstStyle>
          <a:p>
            <a:r>
              <a:rPr lang="en-US"/>
              <a:t>Add title here</a:t>
            </a:r>
            <a:endParaRPr lang="en-US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B0FF4FF-E5D9-FAC6-B708-1AC23C3ADE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50594" y="228600"/>
            <a:ext cx="1652057" cy="411268"/>
          </a:xfrm>
        </p:spPr>
        <p:txBody>
          <a:bodyPr>
            <a:noAutofit/>
          </a:bodyPr>
          <a:lstStyle>
            <a:lvl1pPr marL="0" indent="0" algn="r">
              <a:buNone/>
              <a:defRPr sz="2400" b="0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65A319-3BE3-B703-B537-CDD2D2D698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914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E5EAA0D-AAE6-2B27-DBF1-6CB2AC8A4A9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81853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EABED0-9877-B182-B936-5B7D5C42EE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97521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DCBE9C3-F4A2-C61D-F222-B713D947049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13189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F55CCD-699B-2B4D-E012-47C5DD42B31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28857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10108122-0114-4233-1E31-7A47E98464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944525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6"/>
          </p:nvPr>
        </p:nvSpPr>
        <p:spPr>
          <a:xfrm>
            <a:off x="406400" y="6629400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C93A36-1BCE-4989-A484-BB2F32BA08F5}" type="datetimeFigureOut">
              <a:rPr lang="en-US" smtClean="0"/>
              <a:pPr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7"/>
          </p:nvPr>
        </p:nvSpPr>
        <p:spPr>
          <a:xfrm>
            <a:off x="4165600" y="6629400"/>
            <a:ext cx="3860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8"/>
          </p:nvPr>
        </p:nvSpPr>
        <p:spPr>
          <a:xfrm>
            <a:off x="8981016" y="6631641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CB5F7B-7C15-41FD-9488-0FCC5C0A130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Instructional Text"/>
          <p:cNvSpPr/>
          <p:nvPr/>
        </p:nvSpPr>
        <p:spPr>
          <a:xfrm>
            <a:off x="12395200" y="-26670"/>
            <a:ext cx="1524000" cy="6858000"/>
          </a:xfrm>
          <a:prstGeom prst="roundRect">
            <a:avLst>
              <a:gd name="adj" fmla="val 6795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Note: </a:t>
            </a:r>
          </a:p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 can print this template to use as a wall calendar.</a:t>
            </a:r>
            <a:r>
              <a:rPr lang="en-US" sz="1100" b="1" i="1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You can also copy the slide for any month to add to your own presentation.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03480C92-D9DE-2600-8878-50CBD08BD44F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76914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8" name="Text Placeholder 21">
            <a:extLst>
              <a:ext uri="{FF2B5EF4-FFF2-40B4-BE49-F238E27FC236}">
                <a16:creationId xmlns:a16="http://schemas.microsoft.com/office/drawing/2014/main" id="{F51EAE76-4288-740E-DD89-DE03A54894B6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281853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9" name="Text Placeholder 21">
            <a:extLst>
              <a:ext uri="{FF2B5EF4-FFF2-40B4-BE49-F238E27FC236}">
                <a16:creationId xmlns:a16="http://schemas.microsoft.com/office/drawing/2014/main" id="{6D33263F-1961-139C-5319-83CB070664D3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197521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9E9EEF8E-ADA2-7360-2EC0-7837B51F2176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13189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1" name="Text Placeholder 21">
            <a:extLst>
              <a:ext uri="{FF2B5EF4-FFF2-40B4-BE49-F238E27FC236}">
                <a16:creationId xmlns:a16="http://schemas.microsoft.com/office/drawing/2014/main" id="{3C63D274-E2AF-CEC0-8477-3D812E82FD7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28857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581F3A84-9C5C-A2DE-A357-D33683918A3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44525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48C36CB0-8AFF-2D1A-2EB0-F8352DF978AA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76913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148F11A-22AD-65C7-75F2-89A4D64A974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281852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5475E77E-C900-B918-F3AE-6820054B8A60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197520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718133D1-A7BD-8153-486E-AB3B15A75DEB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113188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FFD8146F-7AAE-E2A4-BF2B-175ABEC110EE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028856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EFC900DC-085B-49F1-6BDF-327336632D1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4524" y="1313069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57" name="Text Placeholder 21">
            <a:extLst>
              <a:ext uri="{FF2B5EF4-FFF2-40B4-BE49-F238E27FC236}">
                <a16:creationId xmlns:a16="http://schemas.microsoft.com/office/drawing/2014/main" id="{50FADF55-BDEF-B4C3-2DA2-B09F5C1AEF7B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6914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59" name="Text Placeholder 21">
            <a:extLst>
              <a:ext uri="{FF2B5EF4-FFF2-40B4-BE49-F238E27FC236}">
                <a16:creationId xmlns:a16="http://schemas.microsoft.com/office/drawing/2014/main" id="{D9847C35-4BFE-B1FA-0074-D42160C7A57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281853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3" name="Text Placeholder 21">
            <a:extLst>
              <a:ext uri="{FF2B5EF4-FFF2-40B4-BE49-F238E27FC236}">
                <a16:creationId xmlns:a16="http://schemas.microsoft.com/office/drawing/2014/main" id="{47A4B399-F7F6-EF07-63E1-BE2F5B5D3148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97521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2" name="Text Placeholder 21">
            <a:extLst>
              <a:ext uri="{FF2B5EF4-FFF2-40B4-BE49-F238E27FC236}">
                <a16:creationId xmlns:a16="http://schemas.microsoft.com/office/drawing/2014/main" id="{6B1314BC-A552-1840-9710-BDDE1721C949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13189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3" name="Text Placeholder 21">
            <a:extLst>
              <a:ext uri="{FF2B5EF4-FFF2-40B4-BE49-F238E27FC236}">
                <a16:creationId xmlns:a16="http://schemas.microsoft.com/office/drawing/2014/main" id="{06961B9A-6543-05BC-3D31-3632374C779C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28857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4" name="Text Placeholder 21">
            <a:extLst>
              <a:ext uri="{FF2B5EF4-FFF2-40B4-BE49-F238E27FC236}">
                <a16:creationId xmlns:a16="http://schemas.microsoft.com/office/drawing/2014/main" id="{8CDF7BF1-AC46-D0F2-9681-F5C6AAE65CE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44525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795" name="Text Placeholder 2">
            <a:extLst>
              <a:ext uri="{FF2B5EF4-FFF2-40B4-BE49-F238E27FC236}">
                <a16:creationId xmlns:a16="http://schemas.microsoft.com/office/drawing/2014/main" id="{F9A6B7AA-B930-0BD5-073E-0FC0A36A80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913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6" name="Text Placeholder 2">
            <a:extLst>
              <a:ext uri="{FF2B5EF4-FFF2-40B4-BE49-F238E27FC236}">
                <a16:creationId xmlns:a16="http://schemas.microsoft.com/office/drawing/2014/main" id="{C28D3E4C-F3D3-BA87-CCE8-3DAF2A83D4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1852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7" name="Text Placeholder 2">
            <a:extLst>
              <a:ext uri="{FF2B5EF4-FFF2-40B4-BE49-F238E27FC236}">
                <a16:creationId xmlns:a16="http://schemas.microsoft.com/office/drawing/2014/main" id="{CB4BDD95-C248-A79B-0D87-168C6EE21C2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97520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8" name="Text Placeholder 2">
            <a:extLst>
              <a:ext uri="{FF2B5EF4-FFF2-40B4-BE49-F238E27FC236}">
                <a16:creationId xmlns:a16="http://schemas.microsoft.com/office/drawing/2014/main" id="{E40E30EA-E7AC-769C-DFE9-2C2EE693F05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188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799" name="Text Placeholder 2">
            <a:extLst>
              <a:ext uri="{FF2B5EF4-FFF2-40B4-BE49-F238E27FC236}">
                <a16:creationId xmlns:a16="http://schemas.microsoft.com/office/drawing/2014/main" id="{A16AB2F0-CD53-FB09-4A6F-D7C8D905F5E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8856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0" name="Text Placeholder 2">
            <a:extLst>
              <a:ext uri="{FF2B5EF4-FFF2-40B4-BE49-F238E27FC236}">
                <a16:creationId xmlns:a16="http://schemas.microsoft.com/office/drawing/2014/main" id="{202D130A-2872-A51F-5078-92225CB7C11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44524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1" name="Text Placeholder 21">
            <a:extLst>
              <a:ext uri="{FF2B5EF4-FFF2-40B4-BE49-F238E27FC236}">
                <a16:creationId xmlns:a16="http://schemas.microsoft.com/office/drawing/2014/main" id="{8EAB2E23-034A-FA45-DB9C-F2BC05A4B73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6914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2" name="Text Placeholder 21">
            <a:extLst>
              <a:ext uri="{FF2B5EF4-FFF2-40B4-BE49-F238E27FC236}">
                <a16:creationId xmlns:a16="http://schemas.microsoft.com/office/drawing/2014/main" id="{95F165C5-EE2F-32A4-09CC-8BC5B02245E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281853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3" name="Text Placeholder 21">
            <a:extLst>
              <a:ext uri="{FF2B5EF4-FFF2-40B4-BE49-F238E27FC236}">
                <a16:creationId xmlns:a16="http://schemas.microsoft.com/office/drawing/2014/main" id="{99D35894-B0DF-5972-67C3-86CA510BC5B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97521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4" name="Text Placeholder 21">
            <a:extLst>
              <a:ext uri="{FF2B5EF4-FFF2-40B4-BE49-F238E27FC236}">
                <a16:creationId xmlns:a16="http://schemas.microsoft.com/office/drawing/2014/main" id="{337B590D-A9FA-A6A8-7C97-424B9F0684C9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3189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5" name="Text Placeholder 21">
            <a:extLst>
              <a:ext uri="{FF2B5EF4-FFF2-40B4-BE49-F238E27FC236}">
                <a16:creationId xmlns:a16="http://schemas.microsoft.com/office/drawing/2014/main" id="{C1C6EA46-FD75-E704-09F2-0929AEDAE6B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28857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6" name="Text Placeholder 21">
            <a:extLst>
              <a:ext uri="{FF2B5EF4-FFF2-40B4-BE49-F238E27FC236}">
                <a16:creationId xmlns:a16="http://schemas.microsoft.com/office/drawing/2014/main" id="{0DC3C1DB-6C74-76C6-7204-2B0C3CE7FA2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944525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07" name="Text Placeholder 2">
            <a:extLst>
              <a:ext uri="{FF2B5EF4-FFF2-40B4-BE49-F238E27FC236}">
                <a16:creationId xmlns:a16="http://schemas.microsoft.com/office/drawing/2014/main" id="{A5474F26-B208-3698-1C84-61890F4540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913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8" name="Text Placeholder 2">
            <a:extLst>
              <a:ext uri="{FF2B5EF4-FFF2-40B4-BE49-F238E27FC236}">
                <a16:creationId xmlns:a16="http://schemas.microsoft.com/office/drawing/2014/main" id="{7B017046-8547-43A9-FA49-CDB9384ED1D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1852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09" name="Text Placeholder 2">
            <a:extLst>
              <a:ext uri="{FF2B5EF4-FFF2-40B4-BE49-F238E27FC236}">
                <a16:creationId xmlns:a16="http://schemas.microsoft.com/office/drawing/2014/main" id="{61BF3790-59F2-42A9-8F1B-E192E3579D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97520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0" name="Text Placeholder 2">
            <a:extLst>
              <a:ext uri="{FF2B5EF4-FFF2-40B4-BE49-F238E27FC236}">
                <a16:creationId xmlns:a16="http://schemas.microsoft.com/office/drawing/2014/main" id="{762FB43A-228A-E0B5-3826-59966425686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3188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1" name="Text Placeholder 2">
            <a:extLst>
              <a:ext uri="{FF2B5EF4-FFF2-40B4-BE49-F238E27FC236}">
                <a16:creationId xmlns:a16="http://schemas.microsoft.com/office/drawing/2014/main" id="{B15738A2-B5B6-0633-64AF-66563A29D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28856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2" name="Text Placeholder 2">
            <a:extLst>
              <a:ext uri="{FF2B5EF4-FFF2-40B4-BE49-F238E27FC236}">
                <a16:creationId xmlns:a16="http://schemas.microsoft.com/office/drawing/2014/main" id="{6F8092EF-D2A1-7D38-C847-7E713414DD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44524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13" name="Text Placeholder 21">
            <a:extLst>
              <a:ext uri="{FF2B5EF4-FFF2-40B4-BE49-F238E27FC236}">
                <a16:creationId xmlns:a16="http://schemas.microsoft.com/office/drawing/2014/main" id="{089883F6-2E5B-FE13-5EFF-7CE41B82E406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6914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4" name="Text Placeholder 21">
            <a:extLst>
              <a:ext uri="{FF2B5EF4-FFF2-40B4-BE49-F238E27FC236}">
                <a16:creationId xmlns:a16="http://schemas.microsoft.com/office/drawing/2014/main" id="{3E7399A5-6A90-4D5A-2E95-453829853342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281853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5" name="Text Placeholder 21">
            <a:extLst>
              <a:ext uri="{FF2B5EF4-FFF2-40B4-BE49-F238E27FC236}">
                <a16:creationId xmlns:a16="http://schemas.microsoft.com/office/drawing/2014/main" id="{8032865A-6B17-4CF9-AD57-759FAA8C14B1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521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6" name="Text Placeholder 21">
            <a:extLst>
              <a:ext uri="{FF2B5EF4-FFF2-40B4-BE49-F238E27FC236}">
                <a16:creationId xmlns:a16="http://schemas.microsoft.com/office/drawing/2014/main" id="{7BEDF1B7-2101-58EB-173B-560B50B1D7C2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113189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7" name="Text Placeholder 21">
            <a:extLst>
              <a:ext uri="{FF2B5EF4-FFF2-40B4-BE49-F238E27FC236}">
                <a16:creationId xmlns:a16="http://schemas.microsoft.com/office/drawing/2014/main" id="{EE8D67CC-97B1-9ED7-F064-6B0F24CE457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28857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8" name="Text Placeholder 21">
            <a:extLst>
              <a:ext uri="{FF2B5EF4-FFF2-40B4-BE49-F238E27FC236}">
                <a16:creationId xmlns:a16="http://schemas.microsoft.com/office/drawing/2014/main" id="{B9ECC4C1-5268-5D5B-5858-CE7528C3B161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44525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19" name="Text Placeholder 2">
            <a:extLst>
              <a:ext uri="{FF2B5EF4-FFF2-40B4-BE49-F238E27FC236}">
                <a16:creationId xmlns:a16="http://schemas.microsoft.com/office/drawing/2014/main" id="{31DEBA60-C4CA-7C7D-342B-F53B369078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913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0" name="Text Placeholder 2">
            <a:extLst>
              <a:ext uri="{FF2B5EF4-FFF2-40B4-BE49-F238E27FC236}">
                <a16:creationId xmlns:a16="http://schemas.microsoft.com/office/drawing/2014/main" id="{12F44D2C-4302-E514-46AC-29BCCACD7F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1852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1" name="Text Placeholder 2">
            <a:extLst>
              <a:ext uri="{FF2B5EF4-FFF2-40B4-BE49-F238E27FC236}">
                <a16:creationId xmlns:a16="http://schemas.microsoft.com/office/drawing/2014/main" id="{B9B6E657-14B4-E24E-057B-E09759AF84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97520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2" name="Text Placeholder 2">
            <a:extLst>
              <a:ext uri="{FF2B5EF4-FFF2-40B4-BE49-F238E27FC236}">
                <a16:creationId xmlns:a16="http://schemas.microsoft.com/office/drawing/2014/main" id="{854579A2-F6AB-ED01-34A1-6B541D886E0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3188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3" name="Text Placeholder 2">
            <a:extLst>
              <a:ext uri="{FF2B5EF4-FFF2-40B4-BE49-F238E27FC236}">
                <a16:creationId xmlns:a16="http://schemas.microsoft.com/office/drawing/2014/main" id="{156DDCCC-A9F7-F3E3-4CF3-317FEE423D1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8856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4" name="Text Placeholder 2">
            <a:extLst>
              <a:ext uri="{FF2B5EF4-FFF2-40B4-BE49-F238E27FC236}">
                <a16:creationId xmlns:a16="http://schemas.microsoft.com/office/drawing/2014/main" id="{25414524-86C7-8078-113D-97DBD4CE534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44524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25" name="Text Placeholder 21">
            <a:extLst>
              <a:ext uri="{FF2B5EF4-FFF2-40B4-BE49-F238E27FC236}">
                <a16:creationId xmlns:a16="http://schemas.microsoft.com/office/drawing/2014/main" id="{89CBB617-0247-E111-7E3F-7F6697D12C53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6914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6" name="Text Placeholder 21">
            <a:extLst>
              <a:ext uri="{FF2B5EF4-FFF2-40B4-BE49-F238E27FC236}">
                <a16:creationId xmlns:a16="http://schemas.microsoft.com/office/drawing/2014/main" id="{DBEC3A21-47F2-B01A-D2D4-AB4E9A600191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281853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27" name="Text Placeholder 21">
            <a:extLst>
              <a:ext uri="{FF2B5EF4-FFF2-40B4-BE49-F238E27FC236}">
                <a16:creationId xmlns:a16="http://schemas.microsoft.com/office/drawing/2014/main" id="{507F4AA4-EE83-1892-692C-3ECFB16727B0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197521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5" name="Text Placeholder 21">
            <a:extLst>
              <a:ext uri="{FF2B5EF4-FFF2-40B4-BE49-F238E27FC236}">
                <a16:creationId xmlns:a16="http://schemas.microsoft.com/office/drawing/2014/main" id="{5E3F98DA-EF04-A9E4-D257-F0C2997ED6B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13189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6" name="Text Placeholder 21">
            <a:extLst>
              <a:ext uri="{FF2B5EF4-FFF2-40B4-BE49-F238E27FC236}">
                <a16:creationId xmlns:a16="http://schemas.microsoft.com/office/drawing/2014/main" id="{0AABE093-C6A8-02E2-42C9-B74FEA5D1FFE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28857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7" name="Text Placeholder 21">
            <a:extLst>
              <a:ext uri="{FF2B5EF4-FFF2-40B4-BE49-F238E27FC236}">
                <a16:creationId xmlns:a16="http://schemas.microsoft.com/office/drawing/2014/main" id="{AB043392-85B4-A084-B070-EA98B1A9E45F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4525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48" name="Text Placeholder 2">
            <a:extLst>
              <a:ext uri="{FF2B5EF4-FFF2-40B4-BE49-F238E27FC236}">
                <a16:creationId xmlns:a16="http://schemas.microsoft.com/office/drawing/2014/main" id="{A5E901E7-1559-CF4D-D248-ED28393A9C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3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49" name="Text Placeholder 2">
            <a:extLst>
              <a:ext uri="{FF2B5EF4-FFF2-40B4-BE49-F238E27FC236}">
                <a16:creationId xmlns:a16="http://schemas.microsoft.com/office/drawing/2014/main" id="{0132E90F-9C5D-EA01-2E8B-ECC573CB925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81852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0" name="Text Placeholder 2">
            <a:extLst>
              <a:ext uri="{FF2B5EF4-FFF2-40B4-BE49-F238E27FC236}">
                <a16:creationId xmlns:a16="http://schemas.microsoft.com/office/drawing/2014/main" id="{576E98CF-C715-0321-5A94-328C1F65B0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97520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1" name="Text Placeholder 2">
            <a:extLst>
              <a:ext uri="{FF2B5EF4-FFF2-40B4-BE49-F238E27FC236}">
                <a16:creationId xmlns:a16="http://schemas.microsoft.com/office/drawing/2014/main" id="{A26E205A-2564-1C8F-C8C0-D231C550FDD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3188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2" name="Text Placeholder 2">
            <a:extLst>
              <a:ext uri="{FF2B5EF4-FFF2-40B4-BE49-F238E27FC236}">
                <a16:creationId xmlns:a16="http://schemas.microsoft.com/office/drawing/2014/main" id="{24E604DB-03C5-FEE3-3176-3128BF016F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28856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3" name="Text Placeholder 2">
            <a:extLst>
              <a:ext uri="{FF2B5EF4-FFF2-40B4-BE49-F238E27FC236}">
                <a16:creationId xmlns:a16="http://schemas.microsoft.com/office/drawing/2014/main" id="{670747EF-1D62-A232-D800-FA55767C9D2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4524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4" name="Text Placeholder 21">
            <a:extLst>
              <a:ext uri="{FF2B5EF4-FFF2-40B4-BE49-F238E27FC236}">
                <a16:creationId xmlns:a16="http://schemas.microsoft.com/office/drawing/2014/main" id="{1740C345-F7BC-80C7-1A35-A7E38962252A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76914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5" name="Text Placeholder 2">
            <a:extLst>
              <a:ext uri="{FF2B5EF4-FFF2-40B4-BE49-F238E27FC236}">
                <a16:creationId xmlns:a16="http://schemas.microsoft.com/office/drawing/2014/main" id="{ECE3C870-86D3-FF54-18CB-F54B8DD43E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13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5" name="Text Placeholder 21">
            <a:extLst>
              <a:ext uri="{FF2B5EF4-FFF2-40B4-BE49-F238E27FC236}">
                <a16:creationId xmlns:a16="http://schemas.microsoft.com/office/drawing/2014/main" id="{D82A19B0-6D34-5158-1EAF-6B17A889A875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281853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69" name="Text Placeholder 21">
            <a:extLst>
              <a:ext uri="{FF2B5EF4-FFF2-40B4-BE49-F238E27FC236}">
                <a16:creationId xmlns:a16="http://schemas.microsoft.com/office/drawing/2014/main" id="{82AB8DCC-3A5B-2516-CCC8-8910A0B5A53D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197521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5" name="Text Placeholder 21">
            <a:extLst>
              <a:ext uri="{FF2B5EF4-FFF2-40B4-BE49-F238E27FC236}">
                <a16:creationId xmlns:a16="http://schemas.microsoft.com/office/drawing/2014/main" id="{06967F1F-BB4D-6E97-E1B5-BE739B4989B1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13189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6" name="Text Placeholder 21">
            <a:extLst>
              <a:ext uri="{FF2B5EF4-FFF2-40B4-BE49-F238E27FC236}">
                <a16:creationId xmlns:a16="http://schemas.microsoft.com/office/drawing/2014/main" id="{3BC676C8-0B41-5199-57BE-B2A28DB15751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28857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7" name="Text Placeholder 21">
            <a:extLst>
              <a:ext uri="{FF2B5EF4-FFF2-40B4-BE49-F238E27FC236}">
                <a16:creationId xmlns:a16="http://schemas.microsoft.com/office/drawing/2014/main" id="{7EB32C30-21EF-CD40-5AF2-726250F19C6F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944525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4C561879-974C-5A81-7292-98A27E11C847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2281852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7D2012F1-A54E-C1D5-CF2F-BBE5C736C8A7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197520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481DA71A-A87E-131A-4AD6-5E1D0E6D2C43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13188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1B5A66C9-C7F7-C9AA-461B-BC4E012AD967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028856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8E23917F-F330-D83B-EC4B-82AE9051D7ED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944524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49433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ch"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CB9D383-5863-4165-A65B-A24AACAD1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42210"/>
            <a:ext cx="9884833" cy="384048"/>
          </a:xfrm>
        </p:spPr>
        <p:txBody>
          <a:bodyPr lIns="0"/>
          <a:lstStyle>
            <a:lvl1pPr>
              <a:defRPr/>
            </a:lvl1pPr>
          </a:lstStyle>
          <a:p>
            <a:r>
              <a:rPr lang="en-US"/>
              <a:t>Add title here</a:t>
            </a:r>
            <a:endParaRPr lang="en-US" noProof="0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B0FF4FF-E5D9-FAC6-B708-1AC23C3ADE27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10250594" y="228600"/>
            <a:ext cx="1652057" cy="411268"/>
          </a:xfrm>
        </p:spPr>
        <p:txBody>
          <a:bodyPr>
            <a:noAutofit/>
          </a:bodyPr>
          <a:lstStyle>
            <a:lvl1pPr marL="0" indent="0" algn="r">
              <a:buNone/>
              <a:defRPr sz="2400" b="0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YEAR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65A319-3BE3-B703-B537-CDD2D2D698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914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E5EAA0D-AAE6-2B27-DBF1-6CB2AC8A4A9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81853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EABED0-9877-B182-B936-5B7D5C42EE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97521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DCBE9C3-F4A2-C61D-F222-B713D947049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13189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F55CCD-699B-2B4D-E012-47C5DD42B31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28857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10108122-0114-4233-1E31-7A47E98464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944525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6"/>
          </p:nvPr>
        </p:nvSpPr>
        <p:spPr>
          <a:xfrm>
            <a:off x="406400" y="6629400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C93A36-1BCE-4989-A484-BB2F32BA08F5}" type="datetimeFigureOut">
              <a:rPr lang="en-US" smtClean="0"/>
              <a:pPr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7"/>
          </p:nvPr>
        </p:nvSpPr>
        <p:spPr>
          <a:xfrm>
            <a:off x="4165600" y="6629400"/>
            <a:ext cx="3860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8"/>
          </p:nvPr>
        </p:nvSpPr>
        <p:spPr>
          <a:xfrm>
            <a:off x="8981016" y="6631641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CB5F7B-7C15-41FD-9488-0FCC5C0A130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Instructional Text"/>
          <p:cNvSpPr/>
          <p:nvPr/>
        </p:nvSpPr>
        <p:spPr>
          <a:xfrm>
            <a:off x="12395200" y="-26670"/>
            <a:ext cx="1524000" cy="6858000"/>
          </a:xfrm>
          <a:prstGeom prst="roundRect">
            <a:avLst>
              <a:gd name="adj" fmla="val 6795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Note: </a:t>
            </a:r>
          </a:p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 can print this template to use as a wall calendar.</a:t>
            </a:r>
            <a:r>
              <a:rPr lang="en-US" sz="1100" b="1" i="1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You can also copy the slide for any month to add to your own presentation.</a:t>
            </a:r>
          </a:p>
        </p:txBody>
      </p:sp>
      <p:sp>
        <p:nvSpPr>
          <p:cNvPr id="88" name="Text Placeholder 21">
            <a:extLst>
              <a:ext uri="{FF2B5EF4-FFF2-40B4-BE49-F238E27FC236}">
                <a16:creationId xmlns:a16="http://schemas.microsoft.com/office/drawing/2014/main" id="{A1470067-6057-35FA-54EF-110E28AF2F97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76914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9" name="Text Placeholder 21">
            <a:extLst>
              <a:ext uri="{FF2B5EF4-FFF2-40B4-BE49-F238E27FC236}">
                <a16:creationId xmlns:a16="http://schemas.microsoft.com/office/drawing/2014/main" id="{012FF6C4-3F0B-EC1B-27B3-55A34FA18D0E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281853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0" name="Text Placeholder 21">
            <a:extLst>
              <a:ext uri="{FF2B5EF4-FFF2-40B4-BE49-F238E27FC236}">
                <a16:creationId xmlns:a16="http://schemas.microsoft.com/office/drawing/2014/main" id="{6EE24261-D929-F53C-DFF8-CA431F354B74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197521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1" name="Text Placeholder 21">
            <a:extLst>
              <a:ext uri="{FF2B5EF4-FFF2-40B4-BE49-F238E27FC236}">
                <a16:creationId xmlns:a16="http://schemas.microsoft.com/office/drawing/2014/main" id="{2A32F580-857C-ED7A-FD14-CE12F0D1559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13189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2" name="Text Placeholder 21">
            <a:extLst>
              <a:ext uri="{FF2B5EF4-FFF2-40B4-BE49-F238E27FC236}">
                <a16:creationId xmlns:a16="http://schemas.microsoft.com/office/drawing/2014/main" id="{43BF2B2D-FCB5-8EF0-25C5-7515B9B3D81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28857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3" name="Text Placeholder 21">
            <a:extLst>
              <a:ext uri="{FF2B5EF4-FFF2-40B4-BE49-F238E27FC236}">
                <a16:creationId xmlns:a16="http://schemas.microsoft.com/office/drawing/2014/main" id="{44715596-AF5F-78E7-3018-EF092C5CD57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44525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9B1AF177-F1F9-F563-C583-150786CAB302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76913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0D091039-1BAE-CD9E-8C65-944BB4CC9FEA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281852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D67A5E79-F4B3-0F2C-8F05-297A07410F65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197520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B0EF86C4-64D2-2CF8-29AD-8B94A6643D00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113188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A7A94A63-95C3-020A-4515-6162961168D8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028856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A993B05A-ADC3-B750-EBC9-6960BECAAEA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4524" y="1313069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0" name="Text Placeholder 21">
            <a:extLst>
              <a:ext uri="{FF2B5EF4-FFF2-40B4-BE49-F238E27FC236}">
                <a16:creationId xmlns:a16="http://schemas.microsoft.com/office/drawing/2014/main" id="{C9A7F8F0-B335-6CE0-6793-E0AF935C001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6914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1" name="Text Placeholder 21">
            <a:extLst>
              <a:ext uri="{FF2B5EF4-FFF2-40B4-BE49-F238E27FC236}">
                <a16:creationId xmlns:a16="http://schemas.microsoft.com/office/drawing/2014/main" id="{A7EF1B72-1020-E86C-4B1F-0B3C5DEA471B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281853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2" name="Text Placeholder 21">
            <a:extLst>
              <a:ext uri="{FF2B5EF4-FFF2-40B4-BE49-F238E27FC236}">
                <a16:creationId xmlns:a16="http://schemas.microsoft.com/office/drawing/2014/main" id="{ABB306AE-E768-CD63-6882-0D9EFB1724D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97521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3" name="Text Placeholder 21">
            <a:extLst>
              <a:ext uri="{FF2B5EF4-FFF2-40B4-BE49-F238E27FC236}">
                <a16:creationId xmlns:a16="http://schemas.microsoft.com/office/drawing/2014/main" id="{D6AD8F69-5EDC-01E6-774D-C2AEA34C811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13189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4" name="Text Placeholder 21">
            <a:extLst>
              <a:ext uri="{FF2B5EF4-FFF2-40B4-BE49-F238E27FC236}">
                <a16:creationId xmlns:a16="http://schemas.microsoft.com/office/drawing/2014/main" id="{9E5DEF59-6AB0-EA7A-2D4A-75FB89B798FD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28857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5" name="Text Placeholder 21">
            <a:extLst>
              <a:ext uri="{FF2B5EF4-FFF2-40B4-BE49-F238E27FC236}">
                <a16:creationId xmlns:a16="http://schemas.microsoft.com/office/drawing/2014/main" id="{7EB38161-E820-290E-68E6-03C083522A1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44525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51C152D3-CA99-9C56-7B34-C8FB8F55ABF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913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9E6B5862-1AE0-0598-ECE6-1E40C761F5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1852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84B604C3-6C3B-9F94-12EB-AFC77D2E40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97520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E1756419-BFC5-6553-7598-DC23B78DE5A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188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8A71F5DA-C468-B1C0-F3DD-1F158CFB32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8856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6335B1BF-DC70-E268-A3F4-DA8B241A34C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44524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2" name="Text Placeholder 21">
            <a:extLst>
              <a:ext uri="{FF2B5EF4-FFF2-40B4-BE49-F238E27FC236}">
                <a16:creationId xmlns:a16="http://schemas.microsoft.com/office/drawing/2014/main" id="{E7843CCF-4845-F834-60D3-4726164A11C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6914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3" name="Text Placeholder 21">
            <a:extLst>
              <a:ext uri="{FF2B5EF4-FFF2-40B4-BE49-F238E27FC236}">
                <a16:creationId xmlns:a16="http://schemas.microsoft.com/office/drawing/2014/main" id="{B352A1C6-E6B6-22D2-2382-5D0A0CA2B7A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281853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4" name="Text Placeholder 21">
            <a:extLst>
              <a:ext uri="{FF2B5EF4-FFF2-40B4-BE49-F238E27FC236}">
                <a16:creationId xmlns:a16="http://schemas.microsoft.com/office/drawing/2014/main" id="{12E4163C-A39B-D460-631B-05764823AC1C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97521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5" name="Text Placeholder 21">
            <a:extLst>
              <a:ext uri="{FF2B5EF4-FFF2-40B4-BE49-F238E27FC236}">
                <a16:creationId xmlns:a16="http://schemas.microsoft.com/office/drawing/2014/main" id="{368438C1-C0E2-DA37-A9D8-B1AB7885488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3189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6" name="Text Placeholder 21">
            <a:extLst>
              <a:ext uri="{FF2B5EF4-FFF2-40B4-BE49-F238E27FC236}">
                <a16:creationId xmlns:a16="http://schemas.microsoft.com/office/drawing/2014/main" id="{65B89D6E-D6EA-5A74-9FA4-E96E91A46360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28857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7" name="Text Placeholder 21">
            <a:extLst>
              <a:ext uri="{FF2B5EF4-FFF2-40B4-BE49-F238E27FC236}">
                <a16:creationId xmlns:a16="http://schemas.microsoft.com/office/drawing/2014/main" id="{63B7A4AE-9AC1-F2FB-0CD5-4ECDF2CF3A82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944525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47E1E323-BD74-235D-251C-AAE76D0D98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913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7896F866-6B76-1547-C63E-CE6D08D7B2B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1852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433996F5-6712-B6BF-0195-EF5D14D2290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97520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1" name="Text Placeholder 2">
            <a:extLst>
              <a:ext uri="{FF2B5EF4-FFF2-40B4-BE49-F238E27FC236}">
                <a16:creationId xmlns:a16="http://schemas.microsoft.com/office/drawing/2014/main" id="{9C21777B-6FA6-0D00-6D72-B63E5DF84E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3188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4F556839-C49E-67D0-9019-B484470DA1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28856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E8193060-4B11-6025-EF25-18E9C03C7F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44524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4" name="Text Placeholder 21">
            <a:extLst>
              <a:ext uri="{FF2B5EF4-FFF2-40B4-BE49-F238E27FC236}">
                <a16:creationId xmlns:a16="http://schemas.microsoft.com/office/drawing/2014/main" id="{70200C63-D39C-62E1-E1BD-A0550FE99832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6914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5" name="Text Placeholder 21">
            <a:extLst>
              <a:ext uri="{FF2B5EF4-FFF2-40B4-BE49-F238E27FC236}">
                <a16:creationId xmlns:a16="http://schemas.microsoft.com/office/drawing/2014/main" id="{2D50C9DB-55A5-BC35-1C03-FAF67956124C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281853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6" name="Text Placeholder 21">
            <a:extLst>
              <a:ext uri="{FF2B5EF4-FFF2-40B4-BE49-F238E27FC236}">
                <a16:creationId xmlns:a16="http://schemas.microsoft.com/office/drawing/2014/main" id="{4D4E6B6F-B736-4445-97C5-7D838FE8EAB0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521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7" name="Text Placeholder 21">
            <a:extLst>
              <a:ext uri="{FF2B5EF4-FFF2-40B4-BE49-F238E27FC236}">
                <a16:creationId xmlns:a16="http://schemas.microsoft.com/office/drawing/2014/main" id="{390F9CC4-AEA4-D365-6A60-24FFC1AFC7C8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113189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6" name="Text Placeholder 21">
            <a:extLst>
              <a:ext uri="{FF2B5EF4-FFF2-40B4-BE49-F238E27FC236}">
                <a16:creationId xmlns:a16="http://schemas.microsoft.com/office/drawing/2014/main" id="{67F7063C-19DB-5C26-5746-6879F83C3A19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28857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7" name="Text Placeholder 21">
            <a:extLst>
              <a:ext uri="{FF2B5EF4-FFF2-40B4-BE49-F238E27FC236}">
                <a16:creationId xmlns:a16="http://schemas.microsoft.com/office/drawing/2014/main" id="{26EAFF2F-FF1D-84A7-15B0-852350C4AD4B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44525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8" name="Text Placeholder 2">
            <a:extLst>
              <a:ext uri="{FF2B5EF4-FFF2-40B4-BE49-F238E27FC236}">
                <a16:creationId xmlns:a16="http://schemas.microsoft.com/office/drawing/2014/main" id="{8BA091E4-DED7-FFE5-0417-AE7E95B4E43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913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9" name="Text Placeholder 2">
            <a:extLst>
              <a:ext uri="{FF2B5EF4-FFF2-40B4-BE49-F238E27FC236}">
                <a16:creationId xmlns:a16="http://schemas.microsoft.com/office/drawing/2014/main" id="{64EED931-048C-116F-2DA9-D1E9455485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1852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0" name="Text Placeholder 2">
            <a:extLst>
              <a:ext uri="{FF2B5EF4-FFF2-40B4-BE49-F238E27FC236}">
                <a16:creationId xmlns:a16="http://schemas.microsoft.com/office/drawing/2014/main" id="{9E96DB6C-51A4-E006-6ED7-71E4C11BB3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97520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1" name="Text Placeholder 2">
            <a:extLst>
              <a:ext uri="{FF2B5EF4-FFF2-40B4-BE49-F238E27FC236}">
                <a16:creationId xmlns:a16="http://schemas.microsoft.com/office/drawing/2014/main" id="{8803044B-CC30-50B7-1FED-6F453D5164A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3188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2" name="Text Placeholder 2">
            <a:extLst>
              <a:ext uri="{FF2B5EF4-FFF2-40B4-BE49-F238E27FC236}">
                <a16:creationId xmlns:a16="http://schemas.microsoft.com/office/drawing/2014/main" id="{AEAB5D31-963F-0613-9D8A-638CBC65CB9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8856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3" name="Text Placeholder 2">
            <a:extLst>
              <a:ext uri="{FF2B5EF4-FFF2-40B4-BE49-F238E27FC236}">
                <a16:creationId xmlns:a16="http://schemas.microsoft.com/office/drawing/2014/main" id="{70DB5339-B8F2-6422-7396-8FDDAC78EE5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44524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4" name="Text Placeholder 21">
            <a:extLst>
              <a:ext uri="{FF2B5EF4-FFF2-40B4-BE49-F238E27FC236}">
                <a16:creationId xmlns:a16="http://schemas.microsoft.com/office/drawing/2014/main" id="{BB48CB48-2348-AA08-684D-691EA833426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6914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5" name="Text Placeholder 21">
            <a:extLst>
              <a:ext uri="{FF2B5EF4-FFF2-40B4-BE49-F238E27FC236}">
                <a16:creationId xmlns:a16="http://schemas.microsoft.com/office/drawing/2014/main" id="{11359015-B4A7-2A5E-F5FE-FE99081E92E6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281853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6" name="Text Placeholder 21">
            <a:extLst>
              <a:ext uri="{FF2B5EF4-FFF2-40B4-BE49-F238E27FC236}">
                <a16:creationId xmlns:a16="http://schemas.microsoft.com/office/drawing/2014/main" id="{8F8812B0-2764-FDDE-BAB4-BE4F9751DB3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197521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7" name="Text Placeholder 21">
            <a:extLst>
              <a:ext uri="{FF2B5EF4-FFF2-40B4-BE49-F238E27FC236}">
                <a16:creationId xmlns:a16="http://schemas.microsoft.com/office/drawing/2014/main" id="{9644F70F-7A79-15C9-88C6-71D4518C46F8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13189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8" name="Text Placeholder 21">
            <a:extLst>
              <a:ext uri="{FF2B5EF4-FFF2-40B4-BE49-F238E27FC236}">
                <a16:creationId xmlns:a16="http://schemas.microsoft.com/office/drawing/2014/main" id="{72E460A6-1C64-B0A3-B829-A70235E5620B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28857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9" name="Text Placeholder 21">
            <a:extLst>
              <a:ext uri="{FF2B5EF4-FFF2-40B4-BE49-F238E27FC236}">
                <a16:creationId xmlns:a16="http://schemas.microsoft.com/office/drawing/2014/main" id="{3E65988F-C66A-3F39-E98C-74C07E64D330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4525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0" name="Text Placeholder 2">
            <a:extLst>
              <a:ext uri="{FF2B5EF4-FFF2-40B4-BE49-F238E27FC236}">
                <a16:creationId xmlns:a16="http://schemas.microsoft.com/office/drawing/2014/main" id="{06AC8E52-B2C9-4B56-BD69-6EE4B32EF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3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1" name="Text Placeholder 2">
            <a:extLst>
              <a:ext uri="{FF2B5EF4-FFF2-40B4-BE49-F238E27FC236}">
                <a16:creationId xmlns:a16="http://schemas.microsoft.com/office/drawing/2014/main" id="{471BFD3C-7F95-D5D9-E7A2-4FC384B48DB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81852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2" name="Text Placeholder 2">
            <a:extLst>
              <a:ext uri="{FF2B5EF4-FFF2-40B4-BE49-F238E27FC236}">
                <a16:creationId xmlns:a16="http://schemas.microsoft.com/office/drawing/2014/main" id="{023A4B65-33D4-88FC-0764-CCA2D19B59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97520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3" name="Text Placeholder 2">
            <a:extLst>
              <a:ext uri="{FF2B5EF4-FFF2-40B4-BE49-F238E27FC236}">
                <a16:creationId xmlns:a16="http://schemas.microsoft.com/office/drawing/2014/main" id="{DF19030A-6924-C951-17F3-D194ABCE05E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3188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4" name="Text Placeholder 2">
            <a:extLst>
              <a:ext uri="{FF2B5EF4-FFF2-40B4-BE49-F238E27FC236}">
                <a16:creationId xmlns:a16="http://schemas.microsoft.com/office/drawing/2014/main" id="{FDB5A38F-92D0-F0AA-1EB6-765F8BC2932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28856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5" name="Text Placeholder 2">
            <a:extLst>
              <a:ext uri="{FF2B5EF4-FFF2-40B4-BE49-F238E27FC236}">
                <a16:creationId xmlns:a16="http://schemas.microsoft.com/office/drawing/2014/main" id="{5B8813B2-9C77-F25B-D735-552A4C4A39C3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4524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6" name="Text Placeholder 21">
            <a:extLst>
              <a:ext uri="{FF2B5EF4-FFF2-40B4-BE49-F238E27FC236}">
                <a16:creationId xmlns:a16="http://schemas.microsoft.com/office/drawing/2014/main" id="{961AFC16-2C69-40DC-7731-2F9CFE37990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76914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7" name="Text Placeholder 2">
            <a:extLst>
              <a:ext uri="{FF2B5EF4-FFF2-40B4-BE49-F238E27FC236}">
                <a16:creationId xmlns:a16="http://schemas.microsoft.com/office/drawing/2014/main" id="{F1CAC1F1-D09E-E608-6675-29674E3A0DF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13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8" name="Text Placeholder 21">
            <a:extLst>
              <a:ext uri="{FF2B5EF4-FFF2-40B4-BE49-F238E27FC236}">
                <a16:creationId xmlns:a16="http://schemas.microsoft.com/office/drawing/2014/main" id="{0496FE1E-032D-2C28-AB64-691E36B2A304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281853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9" name="Text Placeholder 21">
            <a:extLst>
              <a:ext uri="{FF2B5EF4-FFF2-40B4-BE49-F238E27FC236}">
                <a16:creationId xmlns:a16="http://schemas.microsoft.com/office/drawing/2014/main" id="{860B7D10-0781-DDA4-8FC5-CDF8C11FC9A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197521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80" name="Text Placeholder 21">
            <a:extLst>
              <a:ext uri="{FF2B5EF4-FFF2-40B4-BE49-F238E27FC236}">
                <a16:creationId xmlns:a16="http://schemas.microsoft.com/office/drawing/2014/main" id="{40509A2A-13A3-7A78-F7AA-2CCF795CBB37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13189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81" name="Text Placeholder 21">
            <a:extLst>
              <a:ext uri="{FF2B5EF4-FFF2-40B4-BE49-F238E27FC236}">
                <a16:creationId xmlns:a16="http://schemas.microsoft.com/office/drawing/2014/main" id="{C684DA59-43E9-5937-E4ED-4F6AC107163D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28857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82" name="Text Placeholder 21">
            <a:extLst>
              <a:ext uri="{FF2B5EF4-FFF2-40B4-BE49-F238E27FC236}">
                <a16:creationId xmlns:a16="http://schemas.microsoft.com/office/drawing/2014/main" id="{77323B47-D111-709C-7EC7-DDDFF492DB98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944525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83" name="Text Placeholder 2">
            <a:extLst>
              <a:ext uri="{FF2B5EF4-FFF2-40B4-BE49-F238E27FC236}">
                <a16:creationId xmlns:a16="http://schemas.microsoft.com/office/drawing/2014/main" id="{21A09B03-06C9-AAF9-7D76-FE66BB541D89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2281852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84" name="Text Placeholder 2">
            <a:extLst>
              <a:ext uri="{FF2B5EF4-FFF2-40B4-BE49-F238E27FC236}">
                <a16:creationId xmlns:a16="http://schemas.microsoft.com/office/drawing/2014/main" id="{4E9BA23C-A2CF-F08A-E36A-2933323520CE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197520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85" name="Text Placeholder 2">
            <a:extLst>
              <a:ext uri="{FF2B5EF4-FFF2-40B4-BE49-F238E27FC236}">
                <a16:creationId xmlns:a16="http://schemas.microsoft.com/office/drawing/2014/main" id="{C7AA25DC-67FF-41BF-9276-9D7B46847E4D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13188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86" name="Text Placeholder 2">
            <a:extLst>
              <a:ext uri="{FF2B5EF4-FFF2-40B4-BE49-F238E27FC236}">
                <a16:creationId xmlns:a16="http://schemas.microsoft.com/office/drawing/2014/main" id="{1DF005BE-55AD-30A2-F229-6FCF6384AAFF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028856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87" name="Text Placeholder 2">
            <a:extLst>
              <a:ext uri="{FF2B5EF4-FFF2-40B4-BE49-F238E27FC236}">
                <a16:creationId xmlns:a16="http://schemas.microsoft.com/office/drawing/2014/main" id="{6FB3D53A-45A7-6656-38BB-B1DCB5317BE6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944524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6958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bruary"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ACB9D383-5863-4165-A65B-A24AACAD1D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1" y="242210"/>
            <a:ext cx="9884833" cy="384048"/>
          </a:xfrm>
        </p:spPr>
        <p:txBody>
          <a:bodyPr lIns="0"/>
          <a:lstStyle>
            <a:lvl1pPr>
              <a:defRPr/>
            </a:lvl1pPr>
          </a:lstStyle>
          <a:p>
            <a:r>
              <a:rPr lang="en-US"/>
              <a:t>Add title here</a:t>
            </a:r>
            <a:endParaRPr lang="en-US" noProof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B65A319-3BE3-B703-B537-CDD2D2D698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76914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3E5EAA0D-AAE6-2B27-DBF1-6CB2AC8A4A9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2281853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1EABED0-9877-B182-B936-5B7D5C42EE0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197521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9DCBE9C3-F4A2-C61D-F222-B713D947049F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113189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1F55CCD-699B-2B4D-E012-47C5DD42B31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028857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10108122-0114-4233-1E31-7A47E98464DC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9944525" y="792861"/>
            <a:ext cx="1881716" cy="269875"/>
          </a:xfrm>
        </p:spPr>
        <p:txBody>
          <a:bodyPr>
            <a:noAutofit/>
          </a:bodyPr>
          <a:lstStyle>
            <a:lvl1pPr marL="0" indent="0" algn="ctr">
              <a:buNone/>
              <a:defRPr sz="1200" b="1" cap="all" baseline="0"/>
            </a:lvl1pPr>
            <a:lvl2pPr marL="514350" indent="0">
              <a:buNone/>
              <a:defRPr sz="1200"/>
            </a:lvl2pPr>
            <a:lvl3pPr marL="1024128" indent="0">
              <a:buNone/>
              <a:defRPr sz="1200"/>
            </a:lvl3pPr>
            <a:lvl4pPr marL="1536192" indent="0">
              <a:buNone/>
              <a:defRPr sz="1200"/>
            </a:lvl4pPr>
            <a:lvl5pPr marL="2048256" indent="0">
              <a:buNone/>
              <a:defRPr sz="1200"/>
            </a:lvl5pPr>
          </a:lstStyle>
          <a:p>
            <a:pPr lvl="0"/>
            <a:r>
              <a:rPr lang="en-US"/>
              <a:t>ADD TEXT 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6"/>
          </p:nvPr>
        </p:nvSpPr>
        <p:spPr>
          <a:xfrm>
            <a:off x="406400" y="6629400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EC93A36-1BCE-4989-A484-BB2F32BA08F5}" type="datetimeFigureOut">
              <a:rPr lang="en-US" smtClean="0"/>
              <a:pPr/>
              <a:t>1/3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7"/>
          </p:nvPr>
        </p:nvSpPr>
        <p:spPr>
          <a:xfrm>
            <a:off x="4165600" y="6629400"/>
            <a:ext cx="3860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8"/>
          </p:nvPr>
        </p:nvSpPr>
        <p:spPr>
          <a:xfrm>
            <a:off x="8981016" y="6631641"/>
            <a:ext cx="2844800" cy="18288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3CB5F7B-7C15-41FD-9488-0FCC5C0A130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8" name="Instructional Text"/>
          <p:cNvSpPr/>
          <p:nvPr/>
        </p:nvSpPr>
        <p:spPr>
          <a:xfrm>
            <a:off x="12395200" y="-26670"/>
            <a:ext cx="1524000" cy="6858000"/>
          </a:xfrm>
          <a:prstGeom prst="roundRect">
            <a:avLst>
              <a:gd name="adj" fmla="val 6795"/>
            </a:avLst>
          </a:pr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Note: </a:t>
            </a:r>
          </a:p>
          <a:p>
            <a:pPr>
              <a:spcBef>
                <a:spcPts val="1200"/>
              </a:spcBef>
            </a:pPr>
            <a:r>
              <a:rPr lang="en-US" sz="1100" b="1" i="1" baseline="0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You can print this template to use as a wall calendar.</a:t>
            </a:r>
            <a:r>
              <a:rPr lang="en-US" sz="1100" b="1" i="1" noProof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 You can also copy the slide for any month to add to your own presentation.</a:t>
            </a:r>
          </a:p>
        </p:txBody>
      </p:sp>
      <p:sp>
        <p:nvSpPr>
          <p:cNvPr id="82" name="Text Placeholder 21">
            <a:extLst>
              <a:ext uri="{FF2B5EF4-FFF2-40B4-BE49-F238E27FC236}">
                <a16:creationId xmlns:a16="http://schemas.microsoft.com/office/drawing/2014/main" id="{81867981-E740-E177-F18A-A1F535017517}"/>
              </a:ext>
            </a:extLst>
          </p:cNvPr>
          <p:cNvSpPr>
            <a:spLocks noGrp="1"/>
          </p:cNvSpPr>
          <p:nvPr>
            <p:ph type="body" sz="quarter" idx="88" hasCustomPrompt="1"/>
          </p:nvPr>
        </p:nvSpPr>
        <p:spPr>
          <a:xfrm>
            <a:off x="376914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3" name="Text Placeholder 21">
            <a:extLst>
              <a:ext uri="{FF2B5EF4-FFF2-40B4-BE49-F238E27FC236}">
                <a16:creationId xmlns:a16="http://schemas.microsoft.com/office/drawing/2014/main" id="{A5F07174-EC58-421C-30FE-BAA99C791BE4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2281853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4" name="Text Placeholder 21">
            <a:extLst>
              <a:ext uri="{FF2B5EF4-FFF2-40B4-BE49-F238E27FC236}">
                <a16:creationId xmlns:a16="http://schemas.microsoft.com/office/drawing/2014/main" id="{E202016D-683F-060D-3172-D434B821CBCA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4197521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5" name="Text Placeholder 21">
            <a:extLst>
              <a:ext uri="{FF2B5EF4-FFF2-40B4-BE49-F238E27FC236}">
                <a16:creationId xmlns:a16="http://schemas.microsoft.com/office/drawing/2014/main" id="{F81D7778-9224-E26E-DB52-D52D030173EE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113189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6" name="Text Placeholder 21">
            <a:extLst>
              <a:ext uri="{FF2B5EF4-FFF2-40B4-BE49-F238E27FC236}">
                <a16:creationId xmlns:a16="http://schemas.microsoft.com/office/drawing/2014/main" id="{515434F3-00CD-3819-33E1-99C31A4C6E05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8028857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7" name="Text Placeholder 21">
            <a:extLst>
              <a:ext uri="{FF2B5EF4-FFF2-40B4-BE49-F238E27FC236}">
                <a16:creationId xmlns:a16="http://schemas.microsoft.com/office/drawing/2014/main" id="{D26442AF-38BA-5921-5E87-9A20A3BF910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944525" y="108667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4E8C0746-77DA-DD7C-973E-3C63A8BDED4A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376913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E0BD37DD-1FC8-9582-4C3C-CEC72EA16D21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2281852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E6C51849-0AB8-31D4-726C-568CB72E7C6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4197520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1" name="Text Placeholder 2">
            <a:extLst>
              <a:ext uri="{FF2B5EF4-FFF2-40B4-BE49-F238E27FC236}">
                <a16:creationId xmlns:a16="http://schemas.microsoft.com/office/drawing/2014/main" id="{82FB73D3-442F-14AB-0CFB-74265C948754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113188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FC6CFDA3-A7D4-4820-32B9-399D5002403A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8028856" y="1313070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4ED38853-A3A5-F226-B49E-05A38B55415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944524" y="1313069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94" name="Text Placeholder 21">
            <a:extLst>
              <a:ext uri="{FF2B5EF4-FFF2-40B4-BE49-F238E27FC236}">
                <a16:creationId xmlns:a16="http://schemas.microsoft.com/office/drawing/2014/main" id="{88BF68E7-ED6F-FC9D-A677-D4639E98FB9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76914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5" name="Text Placeholder 21">
            <a:extLst>
              <a:ext uri="{FF2B5EF4-FFF2-40B4-BE49-F238E27FC236}">
                <a16:creationId xmlns:a16="http://schemas.microsoft.com/office/drawing/2014/main" id="{8536A5CC-6919-C346-8278-48089D94E7D6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281853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6" name="Text Placeholder 21">
            <a:extLst>
              <a:ext uri="{FF2B5EF4-FFF2-40B4-BE49-F238E27FC236}">
                <a16:creationId xmlns:a16="http://schemas.microsoft.com/office/drawing/2014/main" id="{795BBD97-7D8B-E8E2-4056-AC4565C7C724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4197521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7" name="Text Placeholder 21">
            <a:extLst>
              <a:ext uri="{FF2B5EF4-FFF2-40B4-BE49-F238E27FC236}">
                <a16:creationId xmlns:a16="http://schemas.microsoft.com/office/drawing/2014/main" id="{CCFB0E0B-66C7-5044-CD33-EF6B6A19E44C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113189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8" name="Text Placeholder 21">
            <a:extLst>
              <a:ext uri="{FF2B5EF4-FFF2-40B4-BE49-F238E27FC236}">
                <a16:creationId xmlns:a16="http://schemas.microsoft.com/office/drawing/2014/main" id="{60D7F6EE-450B-E6D9-AFEF-21316CB2D26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28857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99" name="Text Placeholder 21">
            <a:extLst>
              <a:ext uri="{FF2B5EF4-FFF2-40B4-BE49-F238E27FC236}">
                <a16:creationId xmlns:a16="http://schemas.microsoft.com/office/drawing/2014/main" id="{69828F59-EC53-7823-CCAA-A5744FDD4F0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9944525" y="200464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8884FA05-DE73-C3B5-4B80-8236CDA742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6913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7BC44892-8B41-24EC-A62E-EEAD897A0F9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81852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00BE16C-D0A6-BBB8-0B44-662CB27DAD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97520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B6F01CD9-BBDF-39D9-0674-325ABFA7DAE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13188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DFFAD1B6-166C-A334-731A-6941781E639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28856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56A091F5-5825-7F0D-8038-1E050FE49F2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944524" y="22310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06" name="Text Placeholder 21">
            <a:extLst>
              <a:ext uri="{FF2B5EF4-FFF2-40B4-BE49-F238E27FC236}">
                <a16:creationId xmlns:a16="http://schemas.microsoft.com/office/drawing/2014/main" id="{F948C0F9-1A23-4FCF-0659-4230990A5BA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76914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7" name="Text Placeholder 21">
            <a:extLst>
              <a:ext uri="{FF2B5EF4-FFF2-40B4-BE49-F238E27FC236}">
                <a16:creationId xmlns:a16="http://schemas.microsoft.com/office/drawing/2014/main" id="{7D13D0DD-4F7E-3093-483E-1A84B89F9CC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2281853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8" name="Text Placeholder 21">
            <a:extLst>
              <a:ext uri="{FF2B5EF4-FFF2-40B4-BE49-F238E27FC236}">
                <a16:creationId xmlns:a16="http://schemas.microsoft.com/office/drawing/2014/main" id="{635EFA66-5B30-9D10-C3BF-894ACBA78B4B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4197521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09" name="Text Placeholder 21">
            <a:extLst>
              <a:ext uri="{FF2B5EF4-FFF2-40B4-BE49-F238E27FC236}">
                <a16:creationId xmlns:a16="http://schemas.microsoft.com/office/drawing/2014/main" id="{AAEA7A56-8F9D-EC07-0205-320A91CA5070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113189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0" name="Text Placeholder 21">
            <a:extLst>
              <a:ext uri="{FF2B5EF4-FFF2-40B4-BE49-F238E27FC236}">
                <a16:creationId xmlns:a16="http://schemas.microsoft.com/office/drawing/2014/main" id="{BD1AC00A-0673-92FD-E9F4-262336078E3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8028857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1" name="Text Placeholder 21">
            <a:extLst>
              <a:ext uri="{FF2B5EF4-FFF2-40B4-BE49-F238E27FC236}">
                <a16:creationId xmlns:a16="http://schemas.microsoft.com/office/drawing/2014/main" id="{0D6B694D-6912-2895-8D9B-46954606446A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9944525" y="2927650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EDD714D7-4BF6-4E1A-08EB-0307E494ACC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913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4E52A7D8-66D9-634D-ECBC-934C8768E70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1852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72994B9C-F272-2BCF-6AFA-2289C4D3E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97520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5" name="Text Placeholder 2">
            <a:extLst>
              <a:ext uri="{FF2B5EF4-FFF2-40B4-BE49-F238E27FC236}">
                <a16:creationId xmlns:a16="http://schemas.microsoft.com/office/drawing/2014/main" id="{26011C4D-2F0B-09E0-BDE5-95DF75FA335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13188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98ADD2C8-D4AB-E02C-5E8C-FD77BF3ACF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28856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32E11DA6-B24D-77AD-A9EF-0ECD334AC6D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944524" y="31454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18" name="Text Placeholder 21">
            <a:extLst>
              <a:ext uri="{FF2B5EF4-FFF2-40B4-BE49-F238E27FC236}">
                <a16:creationId xmlns:a16="http://schemas.microsoft.com/office/drawing/2014/main" id="{A601C23B-F664-0435-059E-3C36174BB05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376914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9" name="Text Placeholder 21">
            <a:extLst>
              <a:ext uri="{FF2B5EF4-FFF2-40B4-BE49-F238E27FC236}">
                <a16:creationId xmlns:a16="http://schemas.microsoft.com/office/drawing/2014/main" id="{3A4881E9-B59D-744D-7680-6241CD53C8A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281853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0" name="Text Placeholder 21">
            <a:extLst>
              <a:ext uri="{FF2B5EF4-FFF2-40B4-BE49-F238E27FC236}">
                <a16:creationId xmlns:a16="http://schemas.microsoft.com/office/drawing/2014/main" id="{7273B227-E524-C8E2-90A1-FA3B95A3DD1C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4197521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1" name="Text Placeholder 21">
            <a:extLst>
              <a:ext uri="{FF2B5EF4-FFF2-40B4-BE49-F238E27FC236}">
                <a16:creationId xmlns:a16="http://schemas.microsoft.com/office/drawing/2014/main" id="{324344DA-C059-F99B-09C6-D81B747381A8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113189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2" name="Text Placeholder 21">
            <a:extLst>
              <a:ext uri="{FF2B5EF4-FFF2-40B4-BE49-F238E27FC236}">
                <a16:creationId xmlns:a16="http://schemas.microsoft.com/office/drawing/2014/main" id="{0F61582E-E252-C13F-6ABA-AB88C0429DDF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8028857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3" name="Text Placeholder 21">
            <a:extLst>
              <a:ext uri="{FF2B5EF4-FFF2-40B4-BE49-F238E27FC236}">
                <a16:creationId xmlns:a16="http://schemas.microsoft.com/office/drawing/2014/main" id="{391F282F-66C5-8ED2-0730-8971458F2765}"/>
              </a:ext>
            </a:extLst>
          </p:cNvPr>
          <p:cNvSpPr>
            <a:spLocks noGrp="1"/>
          </p:cNvSpPr>
          <p:nvPr>
            <p:ph type="body" sz="quarter" idx="79" hasCustomPrompt="1"/>
          </p:nvPr>
        </p:nvSpPr>
        <p:spPr>
          <a:xfrm>
            <a:off x="9944525" y="3852832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AD5DD904-297F-E17A-5CD3-8CF827125C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913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5" name="Text Placeholder 2">
            <a:extLst>
              <a:ext uri="{FF2B5EF4-FFF2-40B4-BE49-F238E27FC236}">
                <a16:creationId xmlns:a16="http://schemas.microsoft.com/office/drawing/2014/main" id="{1D51F7ED-2BE6-9064-F24E-D930BC69B5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1852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29FD58FB-A03F-4C1F-68B0-8518C949FE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97520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27" name="Text Placeholder 2">
            <a:extLst>
              <a:ext uri="{FF2B5EF4-FFF2-40B4-BE49-F238E27FC236}">
                <a16:creationId xmlns:a16="http://schemas.microsoft.com/office/drawing/2014/main" id="{E8F4FC4B-6FC4-1EDE-6B4C-A44802DE6A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3188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6" name="Text Placeholder 2">
            <a:extLst>
              <a:ext uri="{FF2B5EF4-FFF2-40B4-BE49-F238E27FC236}">
                <a16:creationId xmlns:a16="http://schemas.microsoft.com/office/drawing/2014/main" id="{6880872B-8BF0-1A64-5C61-306F45CCF40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028856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7" name="Text Placeholder 2">
            <a:extLst>
              <a:ext uri="{FF2B5EF4-FFF2-40B4-BE49-F238E27FC236}">
                <a16:creationId xmlns:a16="http://schemas.microsoft.com/office/drawing/2014/main" id="{2E2E55A4-346B-3049-D40A-C45DD40E0A8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944524" y="40598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58" name="Text Placeholder 21">
            <a:extLst>
              <a:ext uri="{FF2B5EF4-FFF2-40B4-BE49-F238E27FC236}">
                <a16:creationId xmlns:a16="http://schemas.microsoft.com/office/drawing/2014/main" id="{4432F617-154F-B4BC-484E-617AD0CBBBE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376914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59" name="Text Placeholder 21">
            <a:extLst>
              <a:ext uri="{FF2B5EF4-FFF2-40B4-BE49-F238E27FC236}">
                <a16:creationId xmlns:a16="http://schemas.microsoft.com/office/drawing/2014/main" id="{22D314A6-F9FE-F10D-A434-EC0D5A85398D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2281853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0" name="Text Placeholder 21">
            <a:extLst>
              <a:ext uri="{FF2B5EF4-FFF2-40B4-BE49-F238E27FC236}">
                <a16:creationId xmlns:a16="http://schemas.microsoft.com/office/drawing/2014/main" id="{A6017F4C-6C3E-4AEF-4DCD-B7A18CF8E2F1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4197521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1" name="Text Placeholder 21">
            <a:extLst>
              <a:ext uri="{FF2B5EF4-FFF2-40B4-BE49-F238E27FC236}">
                <a16:creationId xmlns:a16="http://schemas.microsoft.com/office/drawing/2014/main" id="{E581266A-17F0-9B0E-EB5C-216CB1B6B51E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113189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2" name="Text Placeholder 21">
            <a:extLst>
              <a:ext uri="{FF2B5EF4-FFF2-40B4-BE49-F238E27FC236}">
                <a16:creationId xmlns:a16="http://schemas.microsoft.com/office/drawing/2014/main" id="{5F6160BC-CEF6-C12B-4D31-87623C1CB725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8028857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3" name="Text Placeholder 21">
            <a:extLst>
              <a:ext uri="{FF2B5EF4-FFF2-40B4-BE49-F238E27FC236}">
                <a16:creationId xmlns:a16="http://schemas.microsoft.com/office/drawing/2014/main" id="{CC9C72E4-2E08-EBBD-A4F5-04BAF2B117FF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9944525" y="4756627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64" name="Text Placeholder 2">
            <a:extLst>
              <a:ext uri="{FF2B5EF4-FFF2-40B4-BE49-F238E27FC236}">
                <a16:creationId xmlns:a16="http://schemas.microsoft.com/office/drawing/2014/main" id="{0383E527-84E1-3DA5-0AA3-6A4D31A797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6913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5" name="Text Placeholder 2">
            <a:extLst>
              <a:ext uri="{FF2B5EF4-FFF2-40B4-BE49-F238E27FC236}">
                <a16:creationId xmlns:a16="http://schemas.microsoft.com/office/drawing/2014/main" id="{AEAC77A4-133A-D44F-C244-4A39CF3DB3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81852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6" name="Text Placeholder 2">
            <a:extLst>
              <a:ext uri="{FF2B5EF4-FFF2-40B4-BE49-F238E27FC236}">
                <a16:creationId xmlns:a16="http://schemas.microsoft.com/office/drawing/2014/main" id="{F4BDD8B4-F5A5-8DF2-195D-2CC66DC16B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197520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7" name="Text Placeholder 2">
            <a:extLst>
              <a:ext uri="{FF2B5EF4-FFF2-40B4-BE49-F238E27FC236}">
                <a16:creationId xmlns:a16="http://schemas.microsoft.com/office/drawing/2014/main" id="{C556C2C8-F9FA-040D-1860-283FF44CE73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13188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8" name="Text Placeholder 2">
            <a:extLst>
              <a:ext uri="{FF2B5EF4-FFF2-40B4-BE49-F238E27FC236}">
                <a16:creationId xmlns:a16="http://schemas.microsoft.com/office/drawing/2014/main" id="{3A45FBCF-5423-4DC0-30CC-7F2BF9CB477F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028856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69" name="Text Placeholder 2">
            <a:extLst>
              <a:ext uri="{FF2B5EF4-FFF2-40B4-BE49-F238E27FC236}">
                <a16:creationId xmlns:a16="http://schemas.microsoft.com/office/drawing/2014/main" id="{106D6837-73C7-4359-8029-8297CC97EA0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944524" y="4974231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0" name="Text Placeholder 21">
            <a:extLst>
              <a:ext uri="{FF2B5EF4-FFF2-40B4-BE49-F238E27FC236}">
                <a16:creationId xmlns:a16="http://schemas.microsoft.com/office/drawing/2014/main" id="{1ECD3C8C-BB4E-E440-4CCC-B78B0F5472AF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76914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1" name="Text Placeholder 2">
            <a:extLst>
              <a:ext uri="{FF2B5EF4-FFF2-40B4-BE49-F238E27FC236}">
                <a16:creationId xmlns:a16="http://schemas.microsoft.com/office/drawing/2014/main" id="{2D2F708B-EE2F-6B14-B7E2-0287A16D92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6913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2" name="Text Placeholder 21">
            <a:extLst>
              <a:ext uri="{FF2B5EF4-FFF2-40B4-BE49-F238E27FC236}">
                <a16:creationId xmlns:a16="http://schemas.microsoft.com/office/drawing/2014/main" id="{DF1DCDA6-6E22-ADD3-E714-ED3EB525729B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2281853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3" name="Text Placeholder 21">
            <a:extLst>
              <a:ext uri="{FF2B5EF4-FFF2-40B4-BE49-F238E27FC236}">
                <a16:creationId xmlns:a16="http://schemas.microsoft.com/office/drawing/2014/main" id="{20A80515-C4C8-B122-B6AE-064D54A0FDA0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197521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4" name="Text Placeholder 21">
            <a:extLst>
              <a:ext uri="{FF2B5EF4-FFF2-40B4-BE49-F238E27FC236}">
                <a16:creationId xmlns:a16="http://schemas.microsoft.com/office/drawing/2014/main" id="{5E7F32FC-19FB-9C3B-0EBB-CBD603C0E1BD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6113189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5" name="Text Placeholder 21">
            <a:extLst>
              <a:ext uri="{FF2B5EF4-FFF2-40B4-BE49-F238E27FC236}">
                <a16:creationId xmlns:a16="http://schemas.microsoft.com/office/drawing/2014/main" id="{69FB3330-BD04-92DD-C3C2-21956986F763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8028857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6" name="Text Placeholder 21">
            <a:extLst>
              <a:ext uri="{FF2B5EF4-FFF2-40B4-BE49-F238E27FC236}">
                <a16:creationId xmlns:a16="http://schemas.microsoft.com/office/drawing/2014/main" id="{7013CD35-159E-97CA-C7D9-2548E634D81F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944525" y="5681809"/>
            <a:ext cx="1881292" cy="211307"/>
          </a:xfrm>
        </p:spPr>
        <p:txBody>
          <a:bodyPr anchor="ctr">
            <a:noAutofit/>
          </a:bodyPr>
          <a:lstStyle>
            <a:lvl1pPr marL="0" indent="0">
              <a:buNone/>
              <a:defRPr sz="1300"/>
            </a:lvl1pPr>
            <a:lvl2pPr marL="514350" indent="0">
              <a:buNone/>
              <a:defRPr sz="1300"/>
            </a:lvl2pPr>
            <a:lvl3pPr marL="1024128" indent="0">
              <a:buNone/>
              <a:defRPr sz="1300"/>
            </a:lvl3pPr>
            <a:lvl4pPr marL="1536192" indent="0">
              <a:buNone/>
              <a:defRPr sz="1300"/>
            </a:lvl4pPr>
            <a:lvl5pPr marL="2048256" indent="0">
              <a:buNone/>
              <a:defRPr sz="1300"/>
            </a:lvl5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877" name="Text Placeholder 2">
            <a:extLst>
              <a:ext uri="{FF2B5EF4-FFF2-40B4-BE49-F238E27FC236}">
                <a16:creationId xmlns:a16="http://schemas.microsoft.com/office/drawing/2014/main" id="{BE199233-6082-F221-453B-D69BDB6D5AB1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2281852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8" name="Text Placeholder 2">
            <a:extLst>
              <a:ext uri="{FF2B5EF4-FFF2-40B4-BE49-F238E27FC236}">
                <a16:creationId xmlns:a16="http://schemas.microsoft.com/office/drawing/2014/main" id="{F6EA5D49-3144-DC4E-077B-662951553B95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4197520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79" name="Text Placeholder 2">
            <a:extLst>
              <a:ext uri="{FF2B5EF4-FFF2-40B4-BE49-F238E27FC236}">
                <a16:creationId xmlns:a16="http://schemas.microsoft.com/office/drawing/2014/main" id="{C009099B-61E9-992C-0BE4-202E04CD584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6113188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80" name="Text Placeholder 2">
            <a:extLst>
              <a:ext uri="{FF2B5EF4-FFF2-40B4-BE49-F238E27FC236}">
                <a16:creationId xmlns:a16="http://schemas.microsoft.com/office/drawing/2014/main" id="{5EFE00A1-820E-419A-8C31-CB7A4D917D28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8028856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1881" name="Text Placeholder 2">
            <a:extLst>
              <a:ext uri="{FF2B5EF4-FFF2-40B4-BE49-F238E27FC236}">
                <a16:creationId xmlns:a16="http://schemas.microsoft.com/office/drawing/2014/main" id="{8CCFE3D7-BBE6-A4BD-0EB9-718DD1A7AA3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944524" y="5897775"/>
            <a:ext cx="1837267" cy="686371"/>
          </a:xfrm>
        </p:spPr>
        <p:txBody>
          <a:bodyPr>
            <a:noAutofit/>
          </a:bodyPr>
          <a:lstStyle>
            <a:lvl1pPr marL="0" indent="0">
              <a:lnSpc>
                <a:spcPct val="85000"/>
              </a:lnSpc>
              <a:spcBef>
                <a:spcPts val="0"/>
              </a:spcBef>
              <a:buNone/>
              <a:defRPr sz="900">
                <a:solidFill>
                  <a:schemeClr val="tx2"/>
                </a:solidFill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2pPr>
            <a:lvl3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3pPr>
            <a:lvl4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4pPr>
            <a:lvl5pPr marL="0" indent="0">
              <a:lnSpc>
                <a:spcPct val="85000"/>
              </a:lnSpc>
              <a:spcBef>
                <a:spcPts val="0"/>
              </a:spcBef>
              <a:buNone/>
              <a:defRPr sz="900"/>
            </a:lvl5pPr>
          </a:lstStyle>
          <a:p>
            <a:pPr lvl="0"/>
            <a:r>
              <a:rPr lang="en-U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03531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91ED6102-FB49-D2BB-0785-B3FD3FE62F93}"/>
              </a:ext>
            </a:extLst>
          </p:cNvPr>
          <p:cNvGrpSpPr/>
          <p:nvPr userDrawn="1"/>
        </p:nvGrpSpPr>
        <p:grpSpPr>
          <a:xfrm>
            <a:off x="8974422" y="2044865"/>
            <a:ext cx="2861978" cy="2947386"/>
            <a:chOff x="8974422" y="2044865"/>
            <a:chExt cx="2861978" cy="2947386"/>
          </a:xfrm>
        </p:grpSpPr>
        <p:grpSp>
          <p:nvGrpSpPr>
            <p:cNvPr id="2" name="Group 94">
              <a:extLst>
                <a:ext uri="{FF2B5EF4-FFF2-40B4-BE49-F238E27FC236}">
                  <a16:creationId xmlns:a16="http://schemas.microsoft.com/office/drawing/2014/main" id="{813CAA63-EAE7-3B3A-3FE0-0AAB5EAA5175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8974422" y="3551428"/>
              <a:ext cx="1890211" cy="1440823"/>
              <a:chOff x="2596" y="1948"/>
              <a:chExt cx="408" cy="311"/>
            </a:xfrm>
            <a:solidFill>
              <a:schemeClr val="accent1">
                <a:lumMod val="40000"/>
                <a:lumOff val="60000"/>
              </a:schemeClr>
            </a:solidFill>
          </p:grpSpPr>
          <p:sp>
            <p:nvSpPr>
              <p:cNvPr id="3" name="Freeform 95">
                <a:extLst>
                  <a:ext uri="{FF2B5EF4-FFF2-40B4-BE49-F238E27FC236}">
                    <a16:creationId xmlns:a16="http://schemas.microsoft.com/office/drawing/2014/main" id="{EE1802C5-B02C-A916-15C9-73885CCD08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96" y="1948"/>
                <a:ext cx="298" cy="311"/>
              </a:xfrm>
              <a:custGeom>
                <a:avLst/>
                <a:gdLst>
                  <a:gd name="T0" fmla="*/ 171 w 194"/>
                  <a:gd name="T1" fmla="*/ 152 h 208"/>
                  <a:gd name="T2" fmla="*/ 127 w 194"/>
                  <a:gd name="T3" fmla="*/ 136 h 208"/>
                  <a:gd name="T4" fmla="*/ 127 w 194"/>
                  <a:gd name="T5" fmla="*/ 115 h 208"/>
                  <a:gd name="T6" fmla="*/ 149 w 194"/>
                  <a:gd name="T7" fmla="*/ 64 h 208"/>
                  <a:gd name="T8" fmla="*/ 95 w 194"/>
                  <a:gd name="T9" fmla="*/ 0 h 208"/>
                  <a:gd name="T10" fmla="*/ 42 w 194"/>
                  <a:gd name="T11" fmla="*/ 64 h 208"/>
                  <a:gd name="T12" fmla="*/ 66 w 194"/>
                  <a:gd name="T13" fmla="*/ 117 h 208"/>
                  <a:gd name="T14" fmla="*/ 66 w 194"/>
                  <a:gd name="T15" fmla="*/ 136 h 208"/>
                  <a:gd name="T16" fmla="*/ 23 w 194"/>
                  <a:gd name="T17" fmla="*/ 152 h 208"/>
                  <a:gd name="T18" fmla="*/ 0 w 194"/>
                  <a:gd name="T19" fmla="*/ 184 h 208"/>
                  <a:gd name="T20" fmla="*/ 0 w 194"/>
                  <a:gd name="T21" fmla="*/ 202 h 208"/>
                  <a:gd name="T22" fmla="*/ 6 w 194"/>
                  <a:gd name="T23" fmla="*/ 208 h 208"/>
                  <a:gd name="T24" fmla="*/ 188 w 194"/>
                  <a:gd name="T25" fmla="*/ 208 h 208"/>
                  <a:gd name="T26" fmla="*/ 194 w 194"/>
                  <a:gd name="T27" fmla="*/ 202 h 208"/>
                  <a:gd name="T28" fmla="*/ 194 w 194"/>
                  <a:gd name="T29" fmla="*/ 184 h 208"/>
                  <a:gd name="T30" fmla="*/ 171 w 194"/>
                  <a:gd name="T31" fmla="*/ 152 h 208"/>
                  <a:gd name="T32" fmla="*/ 95 w 194"/>
                  <a:gd name="T33" fmla="*/ 12 h 208"/>
                  <a:gd name="T34" fmla="*/ 136 w 194"/>
                  <a:gd name="T35" fmla="*/ 53 h 208"/>
                  <a:gd name="T36" fmla="*/ 108 w 194"/>
                  <a:gd name="T37" fmla="*/ 37 h 208"/>
                  <a:gd name="T38" fmla="*/ 103 w 194"/>
                  <a:gd name="T39" fmla="*/ 34 h 208"/>
                  <a:gd name="T40" fmla="*/ 97 w 194"/>
                  <a:gd name="T41" fmla="*/ 38 h 208"/>
                  <a:gd name="T42" fmla="*/ 67 w 194"/>
                  <a:gd name="T43" fmla="*/ 53 h 208"/>
                  <a:gd name="T44" fmla="*/ 55 w 194"/>
                  <a:gd name="T45" fmla="*/ 51 h 208"/>
                  <a:gd name="T46" fmla="*/ 95 w 194"/>
                  <a:gd name="T47" fmla="*/ 12 h 208"/>
                  <a:gd name="T48" fmla="*/ 54 w 194"/>
                  <a:gd name="T49" fmla="*/ 64 h 208"/>
                  <a:gd name="T50" fmla="*/ 54 w 194"/>
                  <a:gd name="T51" fmla="*/ 63 h 208"/>
                  <a:gd name="T52" fmla="*/ 67 w 194"/>
                  <a:gd name="T53" fmla="*/ 65 h 208"/>
                  <a:gd name="T54" fmla="*/ 102 w 194"/>
                  <a:gd name="T55" fmla="*/ 51 h 208"/>
                  <a:gd name="T56" fmla="*/ 130 w 194"/>
                  <a:gd name="T57" fmla="*/ 66 h 208"/>
                  <a:gd name="T58" fmla="*/ 137 w 194"/>
                  <a:gd name="T59" fmla="*/ 65 h 208"/>
                  <a:gd name="T60" fmla="*/ 95 w 194"/>
                  <a:gd name="T61" fmla="*/ 115 h 208"/>
                  <a:gd name="T62" fmla="*/ 54 w 194"/>
                  <a:gd name="T63" fmla="*/ 64 h 208"/>
                  <a:gd name="T64" fmla="*/ 182 w 194"/>
                  <a:gd name="T65" fmla="*/ 196 h 208"/>
                  <a:gd name="T66" fmla="*/ 12 w 194"/>
                  <a:gd name="T67" fmla="*/ 196 h 208"/>
                  <a:gd name="T68" fmla="*/ 12 w 194"/>
                  <a:gd name="T69" fmla="*/ 184 h 208"/>
                  <a:gd name="T70" fmla="*/ 27 w 194"/>
                  <a:gd name="T71" fmla="*/ 163 h 208"/>
                  <a:gd name="T72" fmla="*/ 74 w 194"/>
                  <a:gd name="T73" fmla="*/ 146 h 208"/>
                  <a:gd name="T74" fmla="*/ 78 w 194"/>
                  <a:gd name="T75" fmla="*/ 140 h 208"/>
                  <a:gd name="T76" fmla="*/ 78 w 194"/>
                  <a:gd name="T77" fmla="*/ 124 h 208"/>
                  <a:gd name="T78" fmla="*/ 95 w 194"/>
                  <a:gd name="T79" fmla="*/ 127 h 208"/>
                  <a:gd name="T80" fmla="*/ 115 w 194"/>
                  <a:gd name="T81" fmla="*/ 123 h 208"/>
                  <a:gd name="T82" fmla="*/ 115 w 194"/>
                  <a:gd name="T83" fmla="*/ 140 h 208"/>
                  <a:gd name="T84" fmla="*/ 119 w 194"/>
                  <a:gd name="T85" fmla="*/ 146 h 208"/>
                  <a:gd name="T86" fmla="*/ 167 w 194"/>
                  <a:gd name="T87" fmla="*/ 163 h 208"/>
                  <a:gd name="T88" fmla="*/ 182 w 194"/>
                  <a:gd name="T89" fmla="*/ 184 h 208"/>
                  <a:gd name="T90" fmla="*/ 182 w 194"/>
                  <a:gd name="T91" fmla="*/ 196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94" h="208">
                    <a:moveTo>
                      <a:pt x="171" y="152"/>
                    </a:moveTo>
                    <a:cubicBezTo>
                      <a:pt x="127" y="136"/>
                      <a:pt x="127" y="136"/>
                      <a:pt x="127" y="136"/>
                    </a:cubicBezTo>
                    <a:cubicBezTo>
                      <a:pt x="127" y="115"/>
                      <a:pt x="127" y="115"/>
                      <a:pt x="127" y="115"/>
                    </a:cubicBezTo>
                    <a:cubicBezTo>
                      <a:pt x="141" y="103"/>
                      <a:pt x="149" y="85"/>
                      <a:pt x="149" y="64"/>
                    </a:cubicBezTo>
                    <a:cubicBezTo>
                      <a:pt x="149" y="29"/>
                      <a:pt x="125" y="0"/>
                      <a:pt x="95" y="0"/>
                    </a:cubicBezTo>
                    <a:cubicBezTo>
                      <a:pt x="66" y="0"/>
                      <a:pt x="42" y="29"/>
                      <a:pt x="42" y="64"/>
                    </a:cubicBezTo>
                    <a:cubicBezTo>
                      <a:pt x="42" y="86"/>
                      <a:pt x="51" y="106"/>
                      <a:pt x="66" y="117"/>
                    </a:cubicBezTo>
                    <a:cubicBezTo>
                      <a:pt x="66" y="136"/>
                      <a:pt x="66" y="136"/>
                      <a:pt x="66" y="136"/>
                    </a:cubicBezTo>
                    <a:cubicBezTo>
                      <a:pt x="23" y="152"/>
                      <a:pt x="23" y="152"/>
                      <a:pt x="23" y="152"/>
                    </a:cubicBezTo>
                    <a:cubicBezTo>
                      <a:pt x="9" y="156"/>
                      <a:pt x="0" y="170"/>
                      <a:pt x="0" y="184"/>
                    </a:cubicBezTo>
                    <a:cubicBezTo>
                      <a:pt x="0" y="202"/>
                      <a:pt x="0" y="202"/>
                      <a:pt x="0" y="202"/>
                    </a:cubicBezTo>
                    <a:cubicBezTo>
                      <a:pt x="0" y="206"/>
                      <a:pt x="2" y="208"/>
                      <a:pt x="6" y="208"/>
                    </a:cubicBezTo>
                    <a:cubicBezTo>
                      <a:pt x="188" y="208"/>
                      <a:pt x="188" y="208"/>
                      <a:pt x="188" y="208"/>
                    </a:cubicBezTo>
                    <a:cubicBezTo>
                      <a:pt x="191" y="208"/>
                      <a:pt x="194" y="206"/>
                      <a:pt x="194" y="202"/>
                    </a:cubicBezTo>
                    <a:cubicBezTo>
                      <a:pt x="194" y="184"/>
                      <a:pt x="194" y="184"/>
                      <a:pt x="194" y="184"/>
                    </a:cubicBezTo>
                    <a:cubicBezTo>
                      <a:pt x="194" y="170"/>
                      <a:pt x="184" y="156"/>
                      <a:pt x="171" y="152"/>
                    </a:cubicBezTo>
                    <a:close/>
                    <a:moveTo>
                      <a:pt x="95" y="12"/>
                    </a:moveTo>
                    <a:cubicBezTo>
                      <a:pt x="116" y="12"/>
                      <a:pt x="132" y="30"/>
                      <a:pt x="136" y="53"/>
                    </a:cubicBezTo>
                    <a:cubicBezTo>
                      <a:pt x="124" y="55"/>
                      <a:pt x="116" y="51"/>
                      <a:pt x="108" y="37"/>
                    </a:cubicBezTo>
                    <a:cubicBezTo>
                      <a:pt x="107" y="35"/>
                      <a:pt x="105" y="34"/>
                      <a:pt x="103" y="34"/>
                    </a:cubicBezTo>
                    <a:cubicBezTo>
                      <a:pt x="100" y="34"/>
                      <a:pt x="98" y="36"/>
                      <a:pt x="97" y="38"/>
                    </a:cubicBezTo>
                    <a:cubicBezTo>
                      <a:pt x="93" y="45"/>
                      <a:pt x="79" y="53"/>
                      <a:pt x="67" y="53"/>
                    </a:cubicBezTo>
                    <a:cubicBezTo>
                      <a:pt x="62" y="53"/>
                      <a:pt x="59" y="52"/>
                      <a:pt x="55" y="51"/>
                    </a:cubicBezTo>
                    <a:cubicBezTo>
                      <a:pt x="60" y="29"/>
                      <a:pt x="76" y="12"/>
                      <a:pt x="95" y="12"/>
                    </a:cubicBezTo>
                    <a:close/>
                    <a:moveTo>
                      <a:pt x="54" y="64"/>
                    </a:moveTo>
                    <a:cubicBezTo>
                      <a:pt x="54" y="63"/>
                      <a:pt x="54" y="63"/>
                      <a:pt x="54" y="63"/>
                    </a:cubicBezTo>
                    <a:cubicBezTo>
                      <a:pt x="58" y="64"/>
                      <a:pt x="62" y="65"/>
                      <a:pt x="67" y="65"/>
                    </a:cubicBezTo>
                    <a:cubicBezTo>
                      <a:pt x="80" y="65"/>
                      <a:pt x="94" y="59"/>
                      <a:pt x="102" y="51"/>
                    </a:cubicBezTo>
                    <a:cubicBezTo>
                      <a:pt x="110" y="61"/>
                      <a:pt x="119" y="66"/>
                      <a:pt x="130" y="66"/>
                    </a:cubicBezTo>
                    <a:cubicBezTo>
                      <a:pt x="133" y="66"/>
                      <a:pt x="135" y="65"/>
                      <a:pt x="137" y="65"/>
                    </a:cubicBezTo>
                    <a:cubicBezTo>
                      <a:pt x="137" y="93"/>
                      <a:pt x="118" y="115"/>
                      <a:pt x="95" y="115"/>
                    </a:cubicBezTo>
                    <a:cubicBezTo>
                      <a:pt x="72" y="115"/>
                      <a:pt x="54" y="92"/>
                      <a:pt x="54" y="64"/>
                    </a:cubicBezTo>
                    <a:close/>
                    <a:moveTo>
                      <a:pt x="182" y="196"/>
                    </a:move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184"/>
                      <a:pt x="12" y="184"/>
                      <a:pt x="12" y="184"/>
                    </a:cubicBezTo>
                    <a:cubicBezTo>
                      <a:pt x="12" y="175"/>
                      <a:pt x="18" y="166"/>
                      <a:pt x="27" y="163"/>
                    </a:cubicBezTo>
                    <a:cubicBezTo>
                      <a:pt x="74" y="146"/>
                      <a:pt x="74" y="146"/>
                      <a:pt x="74" y="146"/>
                    </a:cubicBezTo>
                    <a:cubicBezTo>
                      <a:pt x="77" y="145"/>
                      <a:pt x="78" y="143"/>
                      <a:pt x="78" y="140"/>
                    </a:cubicBezTo>
                    <a:cubicBezTo>
                      <a:pt x="78" y="124"/>
                      <a:pt x="78" y="124"/>
                      <a:pt x="78" y="124"/>
                    </a:cubicBezTo>
                    <a:cubicBezTo>
                      <a:pt x="84" y="126"/>
                      <a:pt x="90" y="127"/>
                      <a:pt x="95" y="127"/>
                    </a:cubicBezTo>
                    <a:cubicBezTo>
                      <a:pt x="102" y="127"/>
                      <a:pt x="109" y="125"/>
                      <a:pt x="115" y="123"/>
                    </a:cubicBezTo>
                    <a:cubicBezTo>
                      <a:pt x="115" y="140"/>
                      <a:pt x="115" y="140"/>
                      <a:pt x="115" y="140"/>
                    </a:cubicBezTo>
                    <a:cubicBezTo>
                      <a:pt x="115" y="143"/>
                      <a:pt x="116" y="145"/>
                      <a:pt x="119" y="146"/>
                    </a:cubicBezTo>
                    <a:cubicBezTo>
                      <a:pt x="167" y="163"/>
                      <a:pt x="167" y="163"/>
                      <a:pt x="167" y="163"/>
                    </a:cubicBezTo>
                    <a:cubicBezTo>
                      <a:pt x="176" y="166"/>
                      <a:pt x="182" y="175"/>
                      <a:pt x="182" y="184"/>
                    </a:cubicBezTo>
                    <a:lnTo>
                      <a:pt x="182" y="19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  <p:sp>
            <p:nvSpPr>
              <p:cNvPr id="4" name="Freeform 96">
                <a:extLst>
                  <a:ext uri="{FF2B5EF4-FFF2-40B4-BE49-F238E27FC236}">
                    <a16:creationId xmlns:a16="http://schemas.microsoft.com/office/drawing/2014/main" id="{041D8A7C-D08D-989F-F53D-E8BB404A0F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45" y="1948"/>
                <a:ext cx="159" cy="311"/>
              </a:xfrm>
              <a:custGeom>
                <a:avLst/>
                <a:gdLst>
                  <a:gd name="T0" fmla="*/ 81 w 104"/>
                  <a:gd name="T1" fmla="*/ 152 h 208"/>
                  <a:gd name="T2" fmla="*/ 38 w 104"/>
                  <a:gd name="T3" fmla="*/ 136 h 208"/>
                  <a:gd name="T4" fmla="*/ 38 w 104"/>
                  <a:gd name="T5" fmla="*/ 115 h 208"/>
                  <a:gd name="T6" fmla="*/ 60 w 104"/>
                  <a:gd name="T7" fmla="*/ 64 h 208"/>
                  <a:gd name="T8" fmla="*/ 6 w 104"/>
                  <a:gd name="T9" fmla="*/ 0 h 208"/>
                  <a:gd name="T10" fmla="*/ 0 w 104"/>
                  <a:gd name="T11" fmla="*/ 6 h 208"/>
                  <a:gd name="T12" fmla="*/ 6 w 104"/>
                  <a:gd name="T13" fmla="*/ 12 h 208"/>
                  <a:gd name="T14" fmla="*/ 47 w 104"/>
                  <a:gd name="T15" fmla="*/ 53 h 208"/>
                  <a:gd name="T16" fmla="*/ 19 w 104"/>
                  <a:gd name="T17" fmla="*/ 37 h 208"/>
                  <a:gd name="T18" fmla="*/ 10 w 104"/>
                  <a:gd name="T19" fmla="*/ 35 h 208"/>
                  <a:gd name="T20" fmla="*/ 8 w 104"/>
                  <a:gd name="T21" fmla="*/ 43 h 208"/>
                  <a:gd name="T22" fmla="*/ 41 w 104"/>
                  <a:gd name="T23" fmla="*/ 66 h 208"/>
                  <a:gd name="T24" fmla="*/ 48 w 104"/>
                  <a:gd name="T25" fmla="*/ 65 h 208"/>
                  <a:gd name="T26" fmla="*/ 6 w 104"/>
                  <a:gd name="T27" fmla="*/ 115 h 208"/>
                  <a:gd name="T28" fmla="*/ 0 w 104"/>
                  <a:gd name="T29" fmla="*/ 121 h 208"/>
                  <a:gd name="T30" fmla="*/ 6 w 104"/>
                  <a:gd name="T31" fmla="*/ 127 h 208"/>
                  <a:gd name="T32" fmla="*/ 26 w 104"/>
                  <a:gd name="T33" fmla="*/ 123 h 208"/>
                  <a:gd name="T34" fmla="*/ 26 w 104"/>
                  <a:gd name="T35" fmla="*/ 140 h 208"/>
                  <a:gd name="T36" fmla="*/ 30 w 104"/>
                  <a:gd name="T37" fmla="*/ 146 h 208"/>
                  <a:gd name="T38" fmla="*/ 77 w 104"/>
                  <a:gd name="T39" fmla="*/ 163 h 208"/>
                  <a:gd name="T40" fmla="*/ 92 w 104"/>
                  <a:gd name="T41" fmla="*/ 184 h 208"/>
                  <a:gd name="T42" fmla="*/ 92 w 104"/>
                  <a:gd name="T43" fmla="*/ 196 h 208"/>
                  <a:gd name="T44" fmla="*/ 56 w 104"/>
                  <a:gd name="T45" fmla="*/ 196 h 208"/>
                  <a:gd name="T46" fmla="*/ 50 w 104"/>
                  <a:gd name="T47" fmla="*/ 202 h 208"/>
                  <a:gd name="T48" fmla="*/ 56 w 104"/>
                  <a:gd name="T49" fmla="*/ 208 h 208"/>
                  <a:gd name="T50" fmla="*/ 98 w 104"/>
                  <a:gd name="T51" fmla="*/ 208 h 208"/>
                  <a:gd name="T52" fmla="*/ 104 w 104"/>
                  <a:gd name="T53" fmla="*/ 202 h 208"/>
                  <a:gd name="T54" fmla="*/ 104 w 104"/>
                  <a:gd name="T55" fmla="*/ 184 h 208"/>
                  <a:gd name="T56" fmla="*/ 81 w 104"/>
                  <a:gd name="T57" fmla="*/ 15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04" h="208">
                    <a:moveTo>
                      <a:pt x="81" y="152"/>
                    </a:moveTo>
                    <a:cubicBezTo>
                      <a:pt x="38" y="136"/>
                      <a:pt x="38" y="136"/>
                      <a:pt x="38" y="136"/>
                    </a:cubicBezTo>
                    <a:cubicBezTo>
                      <a:pt x="38" y="115"/>
                      <a:pt x="38" y="115"/>
                      <a:pt x="38" y="115"/>
                    </a:cubicBezTo>
                    <a:cubicBezTo>
                      <a:pt x="51" y="103"/>
                      <a:pt x="60" y="85"/>
                      <a:pt x="60" y="64"/>
                    </a:cubicBezTo>
                    <a:cubicBezTo>
                      <a:pt x="60" y="29"/>
                      <a:pt x="36" y="0"/>
                      <a:pt x="6" y="0"/>
                    </a:cubicBezTo>
                    <a:cubicBezTo>
                      <a:pt x="3" y="0"/>
                      <a:pt x="0" y="3"/>
                      <a:pt x="0" y="6"/>
                    </a:cubicBezTo>
                    <a:cubicBezTo>
                      <a:pt x="0" y="9"/>
                      <a:pt x="3" y="12"/>
                      <a:pt x="6" y="12"/>
                    </a:cubicBezTo>
                    <a:cubicBezTo>
                      <a:pt x="26" y="12"/>
                      <a:pt x="43" y="30"/>
                      <a:pt x="47" y="53"/>
                    </a:cubicBezTo>
                    <a:cubicBezTo>
                      <a:pt x="34" y="55"/>
                      <a:pt x="26" y="51"/>
                      <a:pt x="19" y="37"/>
                    </a:cubicBezTo>
                    <a:cubicBezTo>
                      <a:pt x="17" y="34"/>
                      <a:pt x="13" y="33"/>
                      <a:pt x="10" y="35"/>
                    </a:cubicBezTo>
                    <a:cubicBezTo>
                      <a:pt x="7" y="37"/>
                      <a:pt x="6" y="40"/>
                      <a:pt x="8" y="43"/>
                    </a:cubicBezTo>
                    <a:cubicBezTo>
                      <a:pt x="17" y="59"/>
                      <a:pt x="27" y="66"/>
                      <a:pt x="41" y="66"/>
                    </a:cubicBezTo>
                    <a:cubicBezTo>
                      <a:pt x="43" y="66"/>
                      <a:pt x="46" y="65"/>
                      <a:pt x="48" y="65"/>
                    </a:cubicBezTo>
                    <a:cubicBezTo>
                      <a:pt x="47" y="93"/>
                      <a:pt x="29" y="115"/>
                      <a:pt x="6" y="115"/>
                    </a:cubicBezTo>
                    <a:cubicBezTo>
                      <a:pt x="3" y="115"/>
                      <a:pt x="0" y="118"/>
                      <a:pt x="0" y="121"/>
                    </a:cubicBezTo>
                    <a:cubicBezTo>
                      <a:pt x="0" y="124"/>
                      <a:pt x="3" y="127"/>
                      <a:pt x="6" y="127"/>
                    </a:cubicBezTo>
                    <a:cubicBezTo>
                      <a:pt x="13" y="127"/>
                      <a:pt x="20" y="125"/>
                      <a:pt x="26" y="123"/>
                    </a:cubicBezTo>
                    <a:cubicBezTo>
                      <a:pt x="26" y="140"/>
                      <a:pt x="26" y="140"/>
                      <a:pt x="26" y="140"/>
                    </a:cubicBezTo>
                    <a:cubicBezTo>
                      <a:pt x="26" y="143"/>
                      <a:pt x="27" y="145"/>
                      <a:pt x="30" y="146"/>
                    </a:cubicBezTo>
                    <a:cubicBezTo>
                      <a:pt x="77" y="163"/>
                      <a:pt x="77" y="163"/>
                      <a:pt x="77" y="163"/>
                    </a:cubicBezTo>
                    <a:cubicBezTo>
                      <a:pt x="86" y="166"/>
                      <a:pt x="92" y="175"/>
                      <a:pt x="92" y="184"/>
                    </a:cubicBezTo>
                    <a:cubicBezTo>
                      <a:pt x="92" y="196"/>
                      <a:pt x="92" y="196"/>
                      <a:pt x="92" y="196"/>
                    </a:cubicBezTo>
                    <a:cubicBezTo>
                      <a:pt x="56" y="196"/>
                      <a:pt x="56" y="196"/>
                      <a:pt x="56" y="196"/>
                    </a:cubicBezTo>
                    <a:cubicBezTo>
                      <a:pt x="53" y="196"/>
                      <a:pt x="50" y="199"/>
                      <a:pt x="50" y="202"/>
                    </a:cubicBezTo>
                    <a:cubicBezTo>
                      <a:pt x="50" y="206"/>
                      <a:pt x="53" y="208"/>
                      <a:pt x="56" y="208"/>
                    </a:cubicBezTo>
                    <a:cubicBezTo>
                      <a:pt x="98" y="208"/>
                      <a:pt x="98" y="208"/>
                      <a:pt x="98" y="208"/>
                    </a:cubicBezTo>
                    <a:cubicBezTo>
                      <a:pt x="102" y="208"/>
                      <a:pt x="104" y="206"/>
                      <a:pt x="104" y="202"/>
                    </a:cubicBezTo>
                    <a:cubicBezTo>
                      <a:pt x="104" y="184"/>
                      <a:pt x="104" y="184"/>
                      <a:pt x="104" y="184"/>
                    </a:cubicBezTo>
                    <a:cubicBezTo>
                      <a:pt x="104" y="170"/>
                      <a:pt x="95" y="156"/>
                      <a:pt x="81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5" name="Freeform 89">
              <a:extLst>
                <a:ext uri="{FF2B5EF4-FFF2-40B4-BE49-F238E27FC236}">
                  <a16:creationId xmlns:a16="http://schemas.microsoft.com/office/drawing/2014/main" id="{BF7FB4C7-CCEB-161D-C2DD-ABF5290BF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81740" y="2044865"/>
              <a:ext cx="1754660" cy="1365774"/>
            </a:xfrm>
            <a:custGeom>
              <a:avLst/>
              <a:gdLst>
                <a:gd name="T0" fmla="*/ 108 w 288"/>
                <a:gd name="T1" fmla="*/ 240 h 240"/>
                <a:gd name="T2" fmla="*/ 105 w 288"/>
                <a:gd name="T3" fmla="*/ 240 h 240"/>
                <a:gd name="T4" fmla="*/ 102 w 288"/>
                <a:gd name="T5" fmla="*/ 234 h 240"/>
                <a:gd name="T6" fmla="*/ 102 w 288"/>
                <a:gd name="T7" fmla="*/ 192 h 240"/>
                <a:gd name="T8" fmla="*/ 96 w 288"/>
                <a:gd name="T9" fmla="*/ 192 h 240"/>
                <a:gd name="T10" fmla="*/ 0 w 288"/>
                <a:gd name="T11" fmla="*/ 96 h 240"/>
                <a:gd name="T12" fmla="*/ 96 w 288"/>
                <a:gd name="T13" fmla="*/ 0 h 240"/>
                <a:gd name="T14" fmla="*/ 192 w 288"/>
                <a:gd name="T15" fmla="*/ 0 h 240"/>
                <a:gd name="T16" fmla="*/ 288 w 288"/>
                <a:gd name="T17" fmla="*/ 96 h 240"/>
                <a:gd name="T18" fmla="*/ 192 w 288"/>
                <a:gd name="T19" fmla="*/ 192 h 240"/>
                <a:gd name="T20" fmla="*/ 158 w 288"/>
                <a:gd name="T21" fmla="*/ 192 h 240"/>
                <a:gd name="T22" fmla="*/ 112 w 288"/>
                <a:gd name="T23" fmla="*/ 238 h 240"/>
                <a:gd name="T24" fmla="*/ 108 w 288"/>
                <a:gd name="T25" fmla="*/ 240 h 240"/>
                <a:gd name="T26" fmla="*/ 96 w 288"/>
                <a:gd name="T27" fmla="*/ 12 h 240"/>
                <a:gd name="T28" fmla="*/ 12 w 288"/>
                <a:gd name="T29" fmla="*/ 96 h 240"/>
                <a:gd name="T30" fmla="*/ 96 w 288"/>
                <a:gd name="T31" fmla="*/ 180 h 240"/>
                <a:gd name="T32" fmla="*/ 108 w 288"/>
                <a:gd name="T33" fmla="*/ 180 h 240"/>
                <a:gd name="T34" fmla="*/ 114 w 288"/>
                <a:gd name="T35" fmla="*/ 186 h 240"/>
                <a:gd name="T36" fmla="*/ 114 w 288"/>
                <a:gd name="T37" fmla="*/ 220 h 240"/>
                <a:gd name="T38" fmla="*/ 151 w 288"/>
                <a:gd name="T39" fmla="*/ 182 h 240"/>
                <a:gd name="T40" fmla="*/ 156 w 288"/>
                <a:gd name="T41" fmla="*/ 180 h 240"/>
                <a:gd name="T42" fmla="*/ 192 w 288"/>
                <a:gd name="T43" fmla="*/ 180 h 240"/>
                <a:gd name="T44" fmla="*/ 276 w 288"/>
                <a:gd name="T45" fmla="*/ 96 h 240"/>
                <a:gd name="T46" fmla="*/ 192 w 288"/>
                <a:gd name="T47" fmla="*/ 12 h 240"/>
                <a:gd name="T48" fmla="*/ 96 w 288"/>
                <a:gd name="T49" fmla="*/ 12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88" h="240">
                  <a:moveTo>
                    <a:pt x="108" y="240"/>
                  </a:moveTo>
                  <a:cubicBezTo>
                    <a:pt x="107" y="240"/>
                    <a:pt x="106" y="240"/>
                    <a:pt x="105" y="240"/>
                  </a:cubicBezTo>
                  <a:cubicBezTo>
                    <a:pt x="103" y="239"/>
                    <a:pt x="102" y="237"/>
                    <a:pt x="102" y="234"/>
                  </a:cubicBezTo>
                  <a:cubicBezTo>
                    <a:pt x="102" y="192"/>
                    <a:pt x="102" y="192"/>
                    <a:pt x="102" y="192"/>
                  </a:cubicBezTo>
                  <a:cubicBezTo>
                    <a:pt x="96" y="192"/>
                    <a:pt x="96" y="192"/>
                    <a:pt x="96" y="192"/>
                  </a:cubicBezTo>
                  <a:cubicBezTo>
                    <a:pt x="43" y="192"/>
                    <a:pt x="0" y="149"/>
                    <a:pt x="0" y="96"/>
                  </a:cubicBezTo>
                  <a:cubicBezTo>
                    <a:pt x="0" y="43"/>
                    <a:pt x="43" y="0"/>
                    <a:pt x="96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245" y="0"/>
                    <a:pt x="288" y="43"/>
                    <a:pt x="288" y="96"/>
                  </a:cubicBezTo>
                  <a:cubicBezTo>
                    <a:pt x="288" y="149"/>
                    <a:pt x="245" y="192"/>
                    <a:pt x="192" y="192"/>
                  </a:cubicBezTo>
                  <a:cubicBezTo>
                    <a:pt x="158" y="192"/>
                    <a:pt x="158" y="192"/>
                    <a:pt x="158" y="192"/>
                  </a:cubicBezTo>
                  <a:cubicBezTo>
                    <a:pt x="112" y="238"/>
                    <a:pt x="112" y="238"/>
                    <a:pt x="112" y="238"/>
                  </a:cubicBezTo>
                  <a:cubicBezTo>
                    <a:pt x="111" y="240"/>
                    <a:pt x="109" y="240"/>
                    <a:pt x="108" y="240"/>
                  </a:cubicBezTo>
                  <a:close/>
                  <a:moveTo>
                    <a:pt x="96" y="12"/>
                  </a:moveTo>
                  <a:cubicBezTo>
                    <a:pt x="49" y="12"/>
                    <a:pt x="12" y="50"/>
                    <a:pt x="12" y="96"/>
                  </a:cubicBezTo>
                  <a:cubicBezTo>
                    <a:pt x="12" y="143"/>
                    <a:pt x="49" y="180"/>
                    <a:pt x="96" y="180"/>
                  </a:cubicBezTo>
                  <a:cubicBezTo>
                    <a:pt x="108" y="180"/>
                    <a:pt x="108" y="180"/>
                    <a:pt x="108" y="180"/>
                  </a:cubicBezTo>
                  <a:cubicBezTo>
                    <a:pt x="111" y="180"/>
                    <a:pt x="114" y="183"/>
                    <a:pt x="114" y="186"/>
                  </a:cubicBezTo>
                  <a:cubicBezTo>
                    <a:pt x="114" y="220"/>
                    <a:pt x="114" y="220"/>
                    <a:pt x="114" y="220"/>
                  </a:cubicBezTo>
                  <a:cubicBezTo>
                    <a:pt x="151" y="182"/>
                    <a:pt x="151" y="182"/>
                    <a:pt x="151" y="182"/>
                  </a:cubicBezTo>
                  <a:cubicBezTo>
                    <a:pt x="153" y="181"/>
                    <a:pt x="154" y="180"/>
                    <a:pt x="156" y="180"/>
                  </a:cubicBezTo>
                  <a:cubicBezTo>
                    <a:pt x="192" y="180"/>
                    <a:pt x="192" y="180"/>
                    <a:pt x="192" y="180"/>
                  </a:cubicBezTo>
                  <a:cubicBezTo>
                    <a:pt x="238" y="180"/>
                    <a:pt x="276" y="143"/>
                    <a:pt x="276" y="96"/>
                  </a:cubicBezTo>
                  <a:cubicBezTo>
                    <a:pt x="276" y="50"/>
                    <a:pt x="238" y="12"/>
                    <a:pt x="192" y="12"/>
                  </a:cubicBezTo>
                  <a:lnTo>
                    <a:pt x="96" y="1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cs typeface="Arial" charset="0"/>
              </a:endParaRPr>
            </a:p>
          </p:txBody>
        </p:sp>
      </p:grp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B59288-D0A6-9EEC-6AE9-AB7F8AB9DE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5600" y="1295400"/>
            <a:ext cx="7429500" cy="4381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444B3B-D0DF-0E8C-881B-AB2E80B8B3FC}"/>
              </a:ext>
            </a:extLst>
          </p:cNvPr>
          <p:cNvSpPr/>
          <p:nvPr userDrawn="1"/>
        </p:nvSpPr>
        <p:spPr>
          <a:xfrm>
            <a:off x="0" y="0"/>
            <a:ext cx="12192000" cy="893268"/>
          </a:xfrm>
          <a:prstGeom prst="rect">
            <a:avLst/>
          </a:prstGeom>
          <a:solidFill>
            <a:srgbClr val="00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4">
            <a:extLst>
              <a:ext uri="{FF2B5EF4-FFF2-40B4-BE49-F238E27FC236}">
                <a16:creationId xmlns:a16="http://schemas.microsoft.com/office/drawing/2014/main" id="{41D6F58A-4473-8031-12D1-FA94899D8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21196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6" name="Picture 15" descr="A picture containing emblem, symbol, logo, text&#10;&#10;Description automatically generated">
            <a:extLst>
              <a:ext uri="{FF2B5EF4-FFF2-40B4-BE49-F238E27FC236}">
                <a16:creationId xmlns:a16="http://schemas.microsoft.com/office/drawing/2014/main" id="{1168C1DC-7CB4-787D-35BB-42651F7A2A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53800" y="45291"/>
            <a:ext cx="776932" cy="802687"/>
          </a:xfrm>
          <a:prstGeom prst="rect">
            <a:avLst/>
          </a:prstGeom>
        </p:spPr>
      </p:pic>
      <p:sp>
        <p:nvSpPr>
          <p:cNvPr id="19" name="Footer Placeholder 2">
            <a:extLst>
              <a:ext uri="{FF2B5EF4-FFF2-40B4-BE49-F238E27FC236}">
                <a16:creationId xmlns:a16="http://schemas.microsoft.com/office/drawing/2014/main" id="{A6775B62-8949-6212-7C95-ADFAB109FA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92389"/>
            <a:ext cx="4114800" cy="2597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20" name="Slide Number Placeholder 3">
            <a:extLst>
              <a:ext uri="{FF2B5EF4-FFF2-40B4-BE49-F238E27FC236}">
                <a16:creationId xmlns:a16="http://schemas.microsoft.com/office/drawing/2014/main" id="{E9653E30-5891-F7AE-5732-38743E0CA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9154" y="6592389"/>
            <a:ext cx="452846" cy="2597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EEC552-BEFC-14BF-E30D-E0AD5AF60BE7}"/>
              </a:ext>
            </a:extLst>
          </p:cNvPr>
          <p:cNvSpPr txBox="1"/>
          <p:nvPr userDrawn="1"/>
        </p:nvSpPr>
        <p:spPr>
          <a:xfrm>
            <a:off x="4267200" y="6487437"/>
            <a:ext cx="3657600" cy="215444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ill Sans MT" panose="020B0502020104020203" pitchFamily="34" charset="0"/>
                <a:ea typeface="+mn-ea"/>
                <a:cs typeface="+mn-cs"/>
              </a:rPr>
              <a:t>DRAFT FOR POLICY AND PROGRAM DEVELOPMENT</a:t>
            </a:r>
          </a:p>
        </p:txBody>
      </p:sp>
    </p:spTree>
    <p:extLst>
      <p:ext uri="{BB962C8B-B14F-4D97-AF65-F5344CB8AC3E}">
        <p14:creationId xmlns:p14="http://schemas.microsoft.com/office/powerpoint/2010/main" val="577962472"/>
      </p:ext>
    </p:extLst>
  </p:cSld>
  <p:clrMapOvr>
    <a:masterClrMapping/>
  </p:clrMapOvr>
  <p:hf sldNum="0"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41"/>
          <p:cNvSpPr txBox="1">
            <a:spLocks noGrp="1"/>
          </p:cNvSpPr>
          <p:nvPr>
            <p:ph type="title"/>
          </p:nvPr>
        </p:nvSpPr>
        <p:spPr>
          <a:xfrm>
            <a:off x="838200" y="579116"/>
            <a:ext cx="5002000" cy="6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A71AB"/>
              </a:buClr>
              <a:buSzPts val="3300"/>
              <a:buFont typeface="Roboto"/>
              <a:buNone/>
              <a:defRPr b="1">
                <a:solidFill>
                  <a:srgbClr val="3A71AB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4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rmAutofit/>
          </a:bodyPr>
          <a:lstStyle>
            <a:lvl1pPr marL="609585" lvl="0" indent="-482588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Clr>
                <a:srgbClr val="C12530"/>
              </a:buClr>
              <a:buSzPts val="2100"/>
              <a:buChar char="•"/>
              <a:defRPr>
                <a:solidFill>
                  <a:srgbClr val="C12530"/>
                </a:solidFill>
                <a:latin typeface="Roboto"/>
                <a:ea typeface="Roboto"/>
                <a:cs typeface="Roboto"/>
                <a:sym typeface="Roboto"/>
              </a:defRPr>
            </a:lvl1pPr>
            <a:lvl2pPr marL="1219170" lvl="1" indent="-45718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754" lvl="2" indent="-431789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500"/>
              <a:buChar char="•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•"/>
              <a:defRPr/>
            </a:lvl9pPr>
          </a:lstStyle>
          <a:p>
            <a:endParaRPr/>
          </a:p>
        </p:txBody>
      </p:sp>
      <p:sp>
        <p:nvSpPr>
          <p:cNvPr id="233" name="Google Shape;233;p4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C12530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4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>
                <a:solidFill>
                  <a:srgbClr val="C12530"/>
                </a:solidFill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r>
              <a:rPr lang="en-US"/>
              <a:t>This presentation is for informational purposes only. For legal advice, please contact an attorney</a:t>
            </a:r>
            <a:endParaRPr/>
          </a:p>
        </p:txBody>
      </p:sp>
      <p:sp>
        <p:nvSpPr>
          <p:cNvPr id="235" name="Google Shape;235;p4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C1253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236" name="Google Shape;236;p41" descr="A close up of a logo&#10;&#10;Description automatically generated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74039" y="365126"/>
            <a:ext cx="1079764" cy="55790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37" name="Google Shape;237;p41"/>
          <p:cNvCxnSpPr/>
          <p:nvPr/>
        </p:nvCxnSpPr>
        <p:spPr>
          <a:xfrm>
            <a:off x="838200" y="1304853"/>
            <a:ext cx="2754800" cy="0"/>
          </a:xfrm>
          <a:prstGeom prst="straightConnector1">
            <a:avLst/>
          </a:prstGeom>
          <a:noFill/>
          <a:ln w="57150" cap="flat" cmpd="sng">
            <a:solidFill>
              <a:srgbClr val="3A71AB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733956763"/>
      </p:ext>
    </p:extLst>
  </p:cSld>
  <p:clrMapOvr>
    <a:masterClrMapping/>
  </p:clrMapOvr>
  <p:hf sldNum="0"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9F20DF4-2614-7F5A-76D3-4F3EABFDBF30}"/>
              </a:ext>
            </a:extLst>
          </p:cNvPr>
          <p:cNvSpPr/>
          <p:nvPr userDrawn="1"/>
        </p:nvSpPr>
        <p:spPr>
          <a:xfrm>
            <a:off x="0" y="0"/>
            <a:ext cx="727862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accent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5187276"/>
            <a:ext cx="617397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14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769667"/>
            <a:ext cx="6173979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294404"/>
            <a:ext cx="6173979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3D0C57-9906-930F-C061-20C2B969751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278624" y="0"/>
            <a:ext cx="4913376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BEE662-E0B9-4C09-C8E8-14A38A24A3E8}"/>
              </a:ext>
            </a:extLst>
          </p:cNvPr>
          <p:cNvSpPr/>
          <p:nvPr userDrawn="1"/>
        </p:nvSpPr>
        <p:spPr>
          <a:xfrm>
            <a:off x="595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1930" y="895739"/>
            <a:ext cx="1353127" cy="135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F4C31E0-FE61-6220-BFB9-B1E9B7A0E32D}"/>
              </a:ext>
            </a:extLst>
          </p:cNvPr>
          <p:cNvCxnSpPr/>
          <p:nvPr userDrawn="1"/>
        </p:nvCxnSpPr>
        <p:spPr>
          <a:xfrm>
            <a:off x="2211353" y="914236"/>
            <a:ext cx="0" cy="1334278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140EB922-D971-A4F7-34F9-8EF47A437A1F}"/>
              </a:ext>
            </a:extLst>
          </p:cNvPr>
          <p:cNvSpPr txBox="1"/>
          <p:nvPr userDrawn="1"/>
        </p:nvSpPr>
        <p:spPr>
          <a:xfrm>
            <a:off x="2464027" y="1100360"/>
            <a:ext cx="3778900" cy="32682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>
                <a:solidFill>
                  <a:schemeClr val="accent1"/>
                </a:solidFill>
              </a:rPr>
              <a:t>Commonwealth of Massachuset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55A5555-129C-09F4-91DC-889097E4247D}"/>
              </a:ext>
            </a:extLst>
          </p:cNvPr>
          <p:cNvSpPr txBox="1"/>
          <p:nvPr userDrawn="1"/>
        </p:nvSpPr>
        <p:spPr>
          <a:xfrm>
            <a:off x="2477650" y="1503684"/>
            <a:ext cx="4161455" cy="74483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Executive Office for </a:t>
            </a:r>
          </a:p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accent1"/>
                </a:solidFill>
              </a:rPr>
              <a:t>Administration and Finance</a:t>
            </a:r>
          </a:p>
        </p:txBody>
      </p:sp>
    </p:spTree>
    <p:extLst>
      <p:ext uri="{BB962C8B-B14F-4D97-AF65-F5344CB8AC3E}">
        <p14:creationId xmlns:p14="http://schemas.microsoft.com/office/powerpoint/2010/main" val="3202174495"/>
      </p:ext>
    </p:extLst>
  </p:cSld>
  <p:clrMapOvr>
    <a:masterClrMapping/>
  </p:clrMapOvr>
  <p:hf sldNum="0"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DCFBF15-1051-FCF6-43DD-23A96E7E4983}"/>
              </a:ext>
            </a:extLst>
          </p:cNvPr>
          <p:cNvSpPr/>
          <p:nvPr userDrawn="1"/>
        </p:nvSpPr>
        <p:spPr>
          <a:xfrm>
            <a:off x="596" y="0"/>
            <a:ext cx="12191404" cy="6858000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6964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893929" y="3454055"/>
            <a:ext cx="8181508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ctr">
              <a:buNone/>
              <a:defRPr lang="en-US" sz="2000" dirty="0">
                <a:solidFill>
                  <a:schemeClr val="accent1"/>
                </a:solidFill>
              </a:defRPr>
            </a:lvl1pPr>
          </a:lstStyle>
          <a:p>
            <a:pPr marL="228600" lvl="0" indent="-228600"/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93929" y="2655901"/>
            <a:ext cx="8181508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10" name="Picture 2" descr="Seal of Massachusetts - Wikipedia">
            <a:extLst>
              <a:ext uri="{FF2B5EF4-FFF2-40B4-BE49-F238E27FC236}">
                <a16:creationId xmlns:a16="http://schemas.microsoft.com/office/drawing/2014/main" id="{240B148E-504A-11A8-DFC1-2E317A8ED1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623" y="2305359"/>
            <a:ext cx="1778045" cy="177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">
            <a:extLst>
              <a:ext uri="{FF2B5EF4-FFF2-40B4-BE49-F238E27FC236}">
                <a16:creationId xmlns:a16="http://schemas.microsoft.com/office/drawing/2014/main" id="{A4EEE50B-DE53-0267-B987-86DDCD5611E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9F6AF4-BB84-D52F-3854-7EB18558F688}"/>
              </a:ext>
            </a:extLst>
          </p:cNvPr>
          <p:cNvSpPr/>
          <p:nvPr userDrawn="1"/>
        </p:nvSpPr>
        <p:spPr>
          <a:xfrm>
            <a:off x="595" y="6684968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/>
                </a:solidFill>
                <a:effectLst/>
                <a:latin typeface="+mn-lt"/>
              </a:rPr>
              <a:t>DRAFT: FOR POLICY DEVELOPMENT PURPOS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102EEAA-71BC-15B9-43A5-559F052B0116}"/>
              </a:ext>
            </a:extLst>
          </p:cNvPr>
          <p:cNvSpPr/>
          <p:nvPr userDrawn="1"/>
        </p:nvSpPr>
        <p:spPr>
          <a:xfrm>
            <a:off x="2501202" y="6628983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DC07408-8552-DE7C-EE84-27BD15DAEB34}"/>
              </a:ext>
            </a:extLst>
          </p:cNvPr>
          <p:cNvCxnSpPr>
            <a:cxnSpLocks/>
          </p:cNvCxnSpPr>
          <p:nvPr userDrawn="1"/>
        </p:nvCxnSpPr>
        <p:spPr>
          <a:xfrm>
            <a:off x="2613273" y="1000662"/>
            <a:ext cx="0" cy="4873925"/>
          </a:xfrm>
          <a:prstGeom prst="line">
            <a:avLst/>
          </a:prstGeom>
          <a:ln w="571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04548"/>
      </p:ext>
    </p:extLst>
  </p:cSld>
  <p:clrMapOvr>
    <a:masterClrMapping/>
  </p:clrMapOvr>
  <p:hf sldNum="0" hdr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0E5C6D73-C03E-A17A-DB6A-E78B3DA818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3518322-8913-5D27-9601-BFE9BEFB4AB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440635"/>
      </p:ext>
    </p:extLst>
  </p:cSld>
  <p:clrMapOvr>
    <a:masterClrMapping/>
  </p:clrMapOvr>
  <p:hf sldNum="0" hd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323EB21B-95AA-2B4C-9134-1269A575FFF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6889423"/>
      </p:ext>
    </p:extLst>
  </p:cSld>
  <p:clrMapOvr>
    <a:masterClrMapping/>
  </p:clrMapOvr>
  <p:hf sldNum="0"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3258524"/>
      </p:ext>
    </p:extLst>
  </p:cSld>
  <p:clrMapOvr>
    <a:masterClrMapping/>
  </p:clrMapOvr>
  <p:hf sldNum="0"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2E21AFB-10B9-74DC-B192-87E6947FA25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FDB5644E-EE7D-06EC-1B37-CA063FC4E5E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5438566"/>
      </p:ext>
    </p:extLst>
  </p:cSld>
  <p:clrMapOvr>
    <a:masterClrMapping/>
  </p:clrMapOvr>
  <p:hf sldNum="0" hdr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01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BBD363-9B0F-4C6C-AEB1-A224173EB7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264D26E-6FA9-ED28-5A65-6241195C2D8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5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9">
            <a:extLst>
              <a:ext uri="{FF2B5EF4-FFF2-40B4-BE49-F238E27FC236}">
                <a16:creationId xmlns:a16="http://schemas.microsoft.com/office/drawing/2014/main" id="{D3CB03F8-3FD8-C7CD-0FF1-0432A52AACA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198489" y="1514475"/>
            <a:ext cx="5438775" cy="4857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54CE8EF-B3B7-CDFC-9AF7-EE2F780B20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4037" y="1101337"/>
            <a:ext cx="11082528" cy="276999"/>
          </a:xfrm>
        </p:spPr>
        <p:txBody>
          <a:bodyPr/>
          <a:lstStyle>
            <a:lvl1pPr marL="0" indent="0">
              <a:buNone/>
              <a:defRPr b="1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subtitle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8824416D-AFE6-08A7-E4B9-0CFE919218E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313934"/>
      </p:ext>
    </p:extLst>
  </p:cSld>
  <p:clrMapOvr>
    <a:masterClrMapping/>
  </p:clrMapOvr>
  <p:hf sldNum="0" hdr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2000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6" name="Picture 2" descr="Seal of Massachusetts - Wikipedia">
            <a:extLst>
              <a:ext uri="{FF2B5EF4-FFF2-40B4-BE49-F238E27FC236}">
                <a16:creationId xmlns:a16="http://schemas.microsoft.com/office/drawing/2014/main" id="{80C093E0-C817-4F0A-A377-B08ED9F22A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71380" y="65317"/>
            <a:ext cx="845972" cy="8457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FEA18E0-1522-4828-8480-B579AE6296EB}"/>
              </a:ext>
            </a:extLst>
          </p:cNvPr>
          <p:cNvSpPr/>
          <p:nvPr userDrawn="1"/>
        </p:nvSpPr>
        <p:spPr>
          <a:xfrm>
            <a:off x="2501202" y="6619652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sp>
        <p:nvSpPr>
          <p:cNvPr id="3" name="Slide Number">
            <a:extLst>
              <a:ext uri="{FF2B5EF4-FFF2-40B4-BE49-F238E27FC236}">
                <a16:creationId xmlns:a16="http://schemas.microsoft.com/office/drawing/2014/main" id="{4A14795E-7C1B-5C31-ACF6-1E34D7B703C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716610" y="661359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411314"/>
      </p:ext>
    </p:extLst>
  </p:cSld>
  <p:clrMapOvr>
    <a:masterClrMapping/>
  </p:clrMapOvr>
  <p:hf sldNum="0" hdr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B8D04-682E-43A0-B0F9-92984890B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3962"/>
            <a:ext cx="10515600" cy="4883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66487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</p:spTree>
    <p:extLst>
      <p:ext uri="{BB962C8B-B14F-4D97-AF65-F5344CB8AC3E}">
        <p14:creationId xmlns:p14="http://schemas.microsoft.com/office/powerpoint/2010/main" val="1451871756"/>
      </p:ext>
    </p:extLst>
  </p:cSld>
  <p:clrMapOvr>
    <a:masterClrMapping/>
  </p:clrMapOvr>
  <p:hf sldNum="0"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ay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9750BA6-3BD3-43D4-92C6-A1A38869B2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CEEAADB-4671-465D-AE09-CF767FAB57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17226"/>
      </p:ext>
    </p:extLst>
  </p:cSld>
  <p:clrMapOvr>
    <a:masterClrMapping/>
  </p:clrMapOvr>
  <p:hf sldNum="0" hdr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9772686"/>
      </p:ext>
    </p:extLst>
  </p:cSld>
  <p:clrMapOvr>
    <a:masterClrMapping/>
  </p:clrMapOvr>
  <p:hf sldNum="0" hdr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emblem, symbol, logo, text&#10;&#10;Description automatically generated">
            <a:extLst>
              <a:ext uri="{FF2B5EF4-FFF2-40B4-BE49-F238E27FC236}">
                <a16:creationId xmlns:a16="http://schemas.microsoft.com/office/drawing/2014/main" id="{8A2AB3E5-01B7-08E2-A850-FB18E47EA4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53800" y="45291"/>
            <a:ext cx="776932" cy="802687"/>
          </a:xfrm>
          <a:prstGeom prst="rect">
            <a:avLst/>
          </a:prstGeom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19F20C8-5BDD-27AD-477B-4A95861CA2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9154" y="6592389"/>
            <a:ext cx="452846" cy="2597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" name="Picture 1" descr="A picture containing emblem, symbol, logo, text&#10;&#10;Description automatically generated">
            <a:extLst>
              <a:ext uri="{FF2B5EF4-FFF2-40B4-BE49-F238E27FC236}">
                <a16:creationId xmlns:a16="http://schemas.microsoft.com/office/drawing/2014/main" id="{BDDDEF06-EEC6-1CFC-54B1-58D2D7EAD4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538037" y="144528"/>
            <a:ext cx="436428" cy="45089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4C96FE-AE25-5CA2-4F26-0B7D91A23C59}"/>
              </a:ext>
            </a:extLst>
          </p:cNvPr>
          <p:cNvSpPr/>
          <p:nvPr userDrawn="1"/>
        </p:nvSpPr>
        <p:spPr>
          <a:xfrm>
            <a:off x="2477062" y="6645140"/>
            <a:ext cx="723482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  <a:effectLst/>
                <a:latin typeface="Gill Sans MT" panose="020B0502020104020203" pitchFamily="34" charset="0"/>
              </a:rPr>
              <a:t>CONFIDENTIAL AND PROPRIETARY. DRAFT FOR POLICY AND PROGRAM DEVELOPMENT</a:t>
            </a:r>
          </a:p>
        </p:txBody>
      </p:sp>
    </p:spTree>
    <p:extLst>
      <p:ext uri="{BB962C8B-B14F-4D97-AF65-F5344CB8AC3E}">
        <p14:creationId xmlns:p14="http://schemas.microsoft.com/office/powerpoint/2010/main" val="1133061834"/>
      </p:ext>
    </p:extLst>
  </p:cSld>
  <p:clrMapOvr>
    <a:masterClrMapping/>
  </p:clrMapOvr>
  <p:hf sldNum="0"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0B8D04-682E-43A0-B0F9-92984890B0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93962"/>
            <a:ext cx="10515600" cy="4883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4">
            <a:extLst>
              <a:ext uri="{FF2B5EF4-FFF2-40B4-BE49-F238E27FC236}">
                <a16:creationId xmlns:a16="http://schemas.microsoft.com/office/drawing/2014/main" id="{3ED335DC-F84E-CC7A-DF16-21A5B6E54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700" y="166487"/>
            <a:ext cx="10515600" cy="650875"/>
          </a:xfrm>
          <a:prstGeom prst="rect">
            <a:avLst/>
          </a:prstGeom>
        </p:spPr>
        <p:txBody>
          <a:bodyPr anchor="ctr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06FF48C-67ED-ECED-D1B0-CEE24A07FA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837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fld id="{25587240-FD87-41CB-9A0D-E147AFF8EA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ED8B51E-5D06-2B19-531C-85447ACA1B7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solidFill>
                  <a:schemeClr val="bg1">
                    <a:lumMod val="65000"/>
                  </a:schemeClr>
                </a:solidFill>
                <a:latin typeface="Gill Sans MT" panose="020B0502020104020203" pitchFamily="34" charset="0"/>
              </a:defRPr>
            </a:lvl1pPr>
          </a:lstStyle>
          <a:p>
            <a:r>
              <a:rPr lang="en-US"/>
              <a:t>This presentation is for informational purposes only. For legal advice, please contact an attorney</a:t>
            </a:r>
          </a:p>
        </p:txBody>
      </p:sp>
    </p:spTree>
    <p:extLst>
      <p:ext uri="{BB962C8B-B14F-4D97-AF65-F5344CB8AC3E}">
        <p14:creationId xmlns:p14="http://schemas.microsoft.com/office/powerpoint/2010/main" val="1350652852"/>
      </p:ext>
    </p:extLst>
  </p:cSld>
  <p:clrMapOvr>
    <a:masterClrMapping/>
  </p:clrMapOvr>
  <p:hf sldNum="0"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4"/>
            <a:ext cx="9144000" cy="2387600"/>
          </a:xfrm>
        </p:spPr>
        <p:txBody>
          <a:bodyPr anchor="b"/>
          <a:lstStyle>
            <a:lvl1pPr algn="ctr">
              <a:defRPr sz="260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043"/>
            </a:lvl1pPr>
            <a:lvl2pPr marL="198721" indent="0" algn="ctr">
              <a:buNone/>
              <a:defRPr sz="869"/>
            </a:lvl2pPr>
            <a:lvl3pPr marL="397442" indent="0" algn="ctr">
              <a:buNone/>
              <a:defRPr sz="783"/>
            </a:lvl3pPr>
            <a:lvl4pPr marL="596163" indent="0" algn="ctr">
              <a:buNone/>
              <a:defRPr sz="695"/>
            </a:lvl4pPr>
            <a:lvl5pPr marL="794883" indent="0" algn="ctr">
              <a:buNone/>
              <a:defRPr sz="695"/>
            </a:lvl5pPr>
            <a:lvl6pPr marL="993604" indent="0" algn="ctr">
              <a:buNone/>
              <a:defRPr sz="695"/>
            </a:lvl6pPr>
            <a:lvl7pPr marL="1192325" indent="0" algn="ctr">
              <a:buNone/>
              <a:defRPr sz="695"/>
            </a:lvl7pPr>
            <a:lvl8pPr marL="1391046" indent="0" algn="ctr">
              <a:buNone/>
              <a:defRPr sz="695"/>
            </a:lvl8pPr>
            <a:lvl9pPr marL="1589767" indent="0" algn="ctr">
              <a:buNone/>
              <a:defRPr sz="695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/3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his presentation is for informational purposes only. For legal advice, please contact an attorne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512443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heme" Target="../theme/theme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ags" Target="../tags/tag68.xml"/><Relationship Id="rId39" Type="http://schemas.openxmlformats.org/officeDocument/2006/relationships/tags" Target="../tags/tag81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image" Target="../media/image8.png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10" Type="http://schemas.openxmlformats.org/officeDocument/2006/relationships/slideLayout" Target="../slideLayouts/slideLayout22.xml"/><Relationship Id="rId19" Type="http://schemas.openxmlformats.org/officeDocument/2006/relationships/theme" Target="../theme/theme2.xml"/><Relationship Id="rId31" Type="http://schemas.openxmlformats.org/officeDocument/2006/relationships/tags" Target="../tags/tag7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202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tags" Target="../tags/tag21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tags" Target="../tags/tag209.xml"/><Relationship Id="rId10" Type="http://schemas.openxmlformats.org/officeDocument/2006/relationships/theme" Target="../theme/theme3.xml"/><Relationship Id="rId19" Type="http://schemas.openxmlformats.org/officeDocument/2006/relationships/tags" Target="../tags/tag200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tags" Target="../tags/tag208.xml"/><Relationship Id="rId30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ags" Target="../tags/tag247.xml"/><Relationship Id="rId18" Type="http://schemas.openxmlformats.org/officeDocument/2006/relationships/tags" Target="../tags/tag252.xml"/><Relationship Id="rId26" Type="http://schemas.openxmlformats.org/officeDocument/2006/relationships/tags" Target="../tags/tag260.xml"/><Relationship Id="rId3" Type="http://schemas.openxmlformats.org/officeDocument/2006/relationships/slideLayout" Target="../slideLayouts/slideLayout42.xml"/><Relationship Id="rId21" Type="http://schemas.openxmlformats.org/officeDocument/2006/relationships/tags" Target="../tags/tag255.xml"/><Relationship Id="rId7" Type="http://schemas.openxmlformats.org/officeDocument/2006/relationships/slideLayout" Target="../slideLayouts/slideLayout46.xml"/><Relationship Id="rId12" Type="http://schemas.openxmlformats.org/officeDocument/2006/relationships/tags" Target="../tags/tag246.xml"/><Relationship Id="rId17" Type="http://schemas.openxmlformats.org/officeDocument/2006/relationships/tags" Target="../tags/tag251.xml"/><Relationship Id="rId25" Type="http://schemas.openxmlformats.org/officeDocument/2006/relationships/tags" Target="../tags/tag259.xml"/><Relationship Id="rId33" Type="http://schemas.openxmlformats.org/officeDocument/2006/relationships/image" Target="../media/image16.png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50.xml"/><Relationship Id="rId20" Type="http://schemas.openxmlformats.org/officeDocument/2006/relationships/tags" Target="../tags/tag254.xml"/><Relationship Id="rId29" Type="http://schemas.openxmlformats.org/officeDocument/2006/relationships/tags" Target="../tags/tag263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heme" Target="../theme/theme4.xml"/><Relationship Id="rId24" Type="http://schemas.openxmlformats.org/officeDocument/2006/relationships/tags" Target="../tags/tag25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4.xml"/><Relationship Id="rId15" Type="http://schemas.openxmlformats.org/officeDocument/2006/relationships/tags" Target="../tags/tag249.xml"/><Relationship Id="rId23" Type="http://schemas.openxmlformats.org/officeDocument/2006/relationships/tags" Target="../tags/tag257.xml"/><Relationship Id="rId28" Type="http://schemas.openxmlformats.org/officeDocument/2006/relationships/tags" Target="../tags/tag262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53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248.xml"/><Relationship Id="rId22" Type="http://schemas.openxmlformats.org/officeDocument/2006/relationships/tags" Target="../tags/tag256.xml"/><Relationship Id="rId27" Type="http://schemas.openxmlformats.org/officeDocument/2006/relationships/tags" Target="../tags/tag261.xml"/><Relationship Id="rId30" Type="http://schemas.openxmlformats.org/officeDocument/2006/relationships/tags" Target="../tags/tag264.xml"/><Relationship Id="rId8" Type="http://schemas.openxmlformats.org/officeDocument/2006/relationships/slideLayout" Target="../slideLayouts/slideLayout4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294.xml"/><Relationship Id="rId26" Type="http://schemas.openxmlformats.org/officeDocument/2006/relationships/tags" Target="../tags/tag302.xml"/><Relationship Id="rId39" Type="http://schemas.openxmlformats.org/officeDocument/2006/relationships/image" Target="../media/image2.png"/><Relationship Id="rId21" Type="http://schemas.openxmlformats.org/officeDocument/2006/relationships/tags" Target="../tags/tag297.xml"/><Relationship Id="rId34" Type="http://schemas.openxmlformats.org/officeDocument/2006/relationships/tags" Target="../tags/tag310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heme" Target="../theme/theme5.xml"/><Relationship Id="rId25" Type="http://schemas.openxmlformats.org/officeDocument/2006/relationships/tags" Target="../tags/tag301.xml"/><Relationship Id="rId33" Type="http://schemas.openxmlformats.org/officeDocument/2006/relationships/tags" Target="../tags/tag30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tags" Target="../tags/tag296.xml"/><Relationship Id="rId29" Type="http://schemas.openxmlformats.org/officeDocument/2006/relationships/tags" Target="../tags/tag305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ags" Target="../tags/tag300.xml"/><Relationship Id="rId32" Type="http://schemas.openxmlformats.org/officeDocument/2006/relationships/tags" Target="../tags/tag308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tags" Target="../tags/tag299.xml"/><Relationship Id="rId28" Type="http://schemas.openxmlformats.org/officeDocument/2006/relationships/tags" Target="../tags/tag304.xml"/><Relationship Id="rId36" Type="http://schemas.openxmlformats.org/officeDocument/2006/relationships/tags" Target="../tags/tag312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295.xml"/><Relationship Id="rId31" Type="http://schemas.openxmlformats.org/officeDocument/2006/relationships/tags" Target="../tags/tag30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tags" Target="../tags/tag298.xml"/><Relationship Id="rId27" Type="http://schemas.openxmlformats.org/officeDocument/2006/relationships/tags" Target="../tags/tag303.xml"/><Relationship Id="rId30" Type="http://schemas.openxmlformats.org/officeDocument/2006/relationships/tags" Target="../tags/tag306.xml"/><Relationship Id="rId35" Type="http://schemas.openxmlformats.org/officeDocument/2006/relationships/tags" Target="../tags/tag311.xml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348.xml"/><Relationship Id="rId18" Type="http://schemas.openxmlformats.org/officeDocument/2006/relationships/tags" Target="../tags/tag353.xml"/><Relationship Id="rId26" Type="http://schemas.openxmlformats.org/officeDocument/2006/relationships/tags" Target="../tags/tag361.xml"/><Relationship Id="rId3" Type="http://schemas.openxmlformats.org/officeDocument/2006/relationships/slideLayout" Target="../slideLayouts/slideLayout68.xml"/><Relationship Id="rId21" Type="http://schemas.openxmlformats.org/officeDocument/2006/relationships/tags" Target="../tags/tag356.xml"/><Relationship Id="rId34" Type="http://schemas.openxmlformats.org/officeDocument/2006/relationships/image" Target="../media/image16.png"/><Relationship Id="rId7" Type="http://schemas.openxmlformats.org/officeDocument/2006/relationships/slideLayout" Target="../slideLayouts/slideLayout72.xml"/><Relationship Id="rId12" Type="http://schemas.openxmlformats.org/officeDocument/2006/relationships/theme" Target="../theme/theme6.xml"/><Relationship Id="rId17" Type="http://schemas.openxmlformats.org/officeDocument/2006/relationships/tags" Target="../tags/tag352.xml"/><Relationship Id="rId25" Type="http://schemas.openxmlformats.org/officeDocument/2006/relationships/tags" Target="../tags/tag360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67.xml"/><Relationship Id="rId16" Type="http://schemas.openxmlformats.org/officeDocument/2006/relationships/tags" Target="../tags/tag351.xml"/><Relationship Id="rId20" Type="http://schemas.openxmlformats.org/officeDocument/2006/relationships/tags" Target="../tags/tag355.xml"/><Relationship Id="rId29" Type="http://schemas.openxmlformats.org/officeDocument/2006/relationships/tags" Target="../tags/tag364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tags" Target="../tags/tag359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70.xml"/><Relationship Id="rId15" Type="http://schemas.openxmlformats.org/officeDocument/2006/relationships/tags" Target="../tags/tag350.xml"/><Relationship Id="rId23" Type="http://schemas.openxmlformats.org/officeDocument/2006/relationships/tags" Target="../tags/tag358.xml"/><Relationship Id="rId28" Type="http://schemas.openxmlformats.org/officeDocument/2006/relationships/tags" Target="../tags/tag363.xml"/><Relationship Id="rId10" Type="http://schemas.openxmlformats.org/officeDocument/2006/relationships/slideLayout" Target="../slideLayouts/slideLayout75.xml"/><Relationship Id="rId19" Type="http://schemas.openxmlformats.org/officeDocument/2006/relationships/tags" Target="../tags/tag354.xml"/><Relationship Id="rId31" Type="http://schemas.openxmlformats.org/officeDocument/2006/relationships/tags" Target="../tags/tag366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ags" Target="../tags/tag349.xml"/><Relationship Id="rId22" Type="http://schemas.openxmlformats.org/officeDocument/2006/relationships/tags" Target="../tags/tag357.xml"/><Relationship Id="rId27" Type="http://schemas.openxmlformats.org/officeDocument/2006/relationships/tags" Target="../tags/tag362.xml"/><Relationship Id="rId30" Type="http://schemas.openxmlformats.org/officeDocument/2006/relationships/tags" Target="../tags/tag365.xml"/><Relationship Id="rId8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413" imgH="416" progId="TCLayout.ActiveDocument.1">
                  <p:embed/>
                </p:oleObj>
              </mc:Choice>
              <mc:Fallback>
                <p:oleObj name="think-cell Slide" r:id="rId3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865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1" r:id="rId2"/>
    <p:sldLayoutId id="2147483677" r:id="rId3"/>
    <p:sldLayoutId id="2147483692" r:id="rId4"/>
    <p:sldLayoutId id="2147483689" r:id="rId5"/>
    <p:sldLayoutId id="2147483690" r:id="rId6"/>
    <p:sldLayoutId id="2147483688" r:id="rId7"/>
    <p:sldLayoutId id="2147483713" r:id="rId8"/>
    <p:sldLayoutId id="2147483726" r:id="rId9"/>
    <p:sldLayoutId id="2147483727" r:id="rId10"/>
    <p:sldLayoutId id="2147483728" r:id="rId11"/>
    <p:sldLayoutId id="2147483729" r:id="rId12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06586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rgbClr val="1F497D"/>
          </a:solidFill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1" name="Picture 2" descr="Seal of Massachusetts - Wikipedia">
            <a:extLst>
              <a:ext uri="{FF2B5EF4-FFF2-40B4-BE49-F238E27FC236}">
                <a16:creationId xmlns:a16="http://schemas.microsoft.com/office/drawing/2014/main" id="{1220DEBA-2E2F-4661-AA0C-922E6B034C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355168" y="158750"/>
            <a:ext cx="762198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09E16B49-31DC-4A42-B89E-24F1DB245FFE}"/>
              </a:ext>
            </a:extLst>
          </p:cNvPr>
          <p:cNvSpPr/>
          <p:nvPr userDrawn="1"/>
        </p:nvSpPr>
        <p:spPr>
          <a:xfrm>
            <a:off x="2501202" y="6684968"/>
            <a:ext cx="7234827" cy="184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>
                <a:solidFill>
                  <a:schemeClr val="tx1"/>
                </a:solidFill>
                <a:effectLst/>
                <a:latin typeface="+mn-lt"/>
              </a:rPr>
              <a:t>CONFIDENTIAL AND PROPRIETARY. ANY USE OF THIS MATERIAL WITHOUT SPECIFIC PERMISSION OF THE OWNER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29260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1" r:id="rId17"/>
    <p:sldLayoutId id="2147483712" r:id="rId18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13" imgH="416" progId="TCLayout.ActiveDocument.1">
                  <p:embed/>
                </p:oleObj>
              </mc:Choice>
              <mc:Fallback>
                <p:oleObj name="think-cell Slide" r:id="rId3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3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46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13" imgH="416" progId="TCLayout.ActiveDocument.1">
                  <p:embed/>
                </p:oleObj>
              </mc:Choice>
              <mc:Fallback>
                <p:oleObj name="think-cell Slide" r:id="rId3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132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04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1" r:id="rId15"/>
    <p:sldLayoutId id="2147483784" r:id="rId16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35914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3" imgH="416" progId="TCLayout.ActiveDocument.1">
                  <p:embed/>
                </p:oleObj>
              </mc:Choice>
              <mc:Fallback>
                <p:oleObj name="think-cell Slide" r:id="rId3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0" name="Rectangle 149">
            <a:extLst>
              <a:ext uri="{FF2B5EF4-FFF2-40B4-BE49-F238E27FC236}">
                <a16:creationId xmlns:a16="http://schemas.microsoft.com/office/drawing/2014/main" id="{FB1479BB-3467-409E-A104-0D87D27AAC4B}"/>
              </a:ext>
            </a:extLst>
          </p:cNvPr>
          <p:cNvSpPr/>
          <p:nvPr userDrawn="1"/>
        </p:nvSpPr>
        <p:spPr>
          <a:xfrm>
            <a:off x="0" y="0"/>
            <a:ext cx="12192000" cy="1003952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5"/>
            </p:custDataLst>
          </p:nvPr>
        </p:nvSpPr>
        <p:spPr>
          <a:xfrm>
            <a:off x="554736" y="172212"/>
            <a:ext cx="1060241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865376"/>
              <a:ext cx="11082528" cy="4352544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331720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8816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411265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1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81588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11646D3-F78C-4B25-8400-C661FAD08A4E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B021BBA-48A1-429D-AA7E-AC9A036BC7FF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0AC70767-09D6-4921-87E1-C04A7A85D81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9F3F402B-1959-4C86-B039-9DEA006D844A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F117518E-15B0-4AA6-BDED-9D4E3B0E5B1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15FADA6A-22D9-4F7E-B242-9B37942876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107AB14C-664F-48E5-B849-8B34F08AEE9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BDF7B842-1ABC-48A3-80EB-6CE45E94B1A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E4295754-646D-423F-B67B-4DE55D3505A8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3FFEC667-EC80-4497-8AC9-AB964A0B7419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D8A52052-770F-4D10-BC37-4F3CD2A190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0D17E38E-FA20-4D94-AAE9-C1214F8D21B0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3D7D201-9065-4BA2-8174-C06ADE0EC9E5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3CBE9DD3-6EA1-4E1C-B31C-078C64F019CC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F18EB24D-60A7-4E7B-8C92-584C918D6F2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A2E9A3E-201E-44F7-B8A2-EB045F5DC73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B8F539DC-1462-4592-8D65-533D04087074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3F42F8DB-B562-4ED4-8ED5-5A971C7B9871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A13A721-530D-48D9-9C3C-841459236201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48D5F220-86F6-47D7-A1D1-D19205E2A598}"/>
                </a:ext>
              </a:extLst>
            </p:cNvPr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BF3CE22-7BA6-42A1-83BD-D41C363738B5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6C9D0E8E-0975-4B29-A4AD-AB48A3F1BD5E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139EA4C-B92F-4DFE-B991-1AF2ACD5B2D7}"/>
                </a:ext>
              </a:extLst>
            </p:cNvPr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02F0F19-90EE-488E-9352-AF3D808ACB3B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B8594A-A475-4AE5-8DA2-25F4DF3A7C4C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F037FB3B-A298-46B9-B5AC-43C63B060311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AAE0541F-C09C-4180-88B5-9D227A18492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48728647-1FDA-48A8-9913-AAAA99F369D1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AC5E30E-42F9-4F3E-96F6-75B07AFB41C7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77E130E0-46CA-4B27-9B39-FF8BB4C297C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7ECA85FA-CF5C-40DE-BDB1-AEBD248992A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4C65CC24-94AC-4BCA-9DF2-1F7B276A854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6200114-E40E-4A8E-AE10-F89A1D77D4D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A7C0AE57-9CA5-4DCD-81B0-00B01DC0471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06A73F36-16E3-43A8-AB3E-09620D2FFBEC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D8625409-BDD1-45C7-AD1E-3BDAEDB5094C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B8563CB-99B9-46F3-9F32-999D5EBE12F2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C0D429E6-96A8-4BE1-AB91-221C57BB01A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0C9A666D-7268-404F-BCEC-978D1FD5E546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sp>
        <p:nvSpPr>
          <p:cNvPr id="148" name="Rectangle 147">
            <a:extLst>
              <a:ext uri="{FF2B5EF4-FFF2-40B4-BE49-F238E27FC236}">
                <a16:creationId xmlns:a16="http://schemas.microsoft.com/office/drawing/2014/main" id="{11B4D979-C237-4C6B-ADEE-D04E43A8AF79}"/>
              </a:ext>
            </a:extLst>
          </p:cNvPr>
          <p:cNvSpPr/>
          <p:nvPr userDrawn="1"/>
        </p:nvSpPr>
        <p:spPr>
          <a:xfrm>
            <a:off x="2501202" y="6647644"/>
            <a:ext cx="723482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>
                <a:solidFill>
                  <a:schemeClr val="tx1"/>
                </a:solidFill>
                <a:effectLst/>
                <a:latin typeface="+mn-lt"/>
              </a:rPr>
              <a:t>CONFIDENTIAL DRAFT: FOR POLICY DEVELOPMENT PURPOSES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685B6943-4B16-4DBA-FC8B-554C77CC2CB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48293" y="76430"/>
            <a:ext cx="853046" cy="853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502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hf sldNum="0"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1" kern="1200" spc="0" baseline="0" dirty="0">
          <a:ln w="6350" cap="flat">
            <a:noFill/>
            <a:miter lim="800000"/>
          </a:ln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4572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§"/>
        <a:defRPr lang="en-US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64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176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oe.mass.edu/commissioner/spec-advisories/upholding-rights.html" TargetMode="External"/><Relationship Id="rId2" Type="http://schemas.openxmlformats.org/officeDocument/2006/relationships/hyperlink" Target="https://www.mass.gov/info-details/attorney-generals-advisory-regarding-equal-access-to-public-education-for-all-students-irrespective-of-immigration-status#:%7E:text=The%20Massachusetts%20Student%20Anti-Discrimination,%2C%20gender%20identity%2C%20religion%2C%20national" TargetMode="Externa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7" Type="http://schemas.openxmlformats.org/officeDocument/2006/relationships/image" Target="../media/image31.sv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sv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ass.gov/emergency-planning-guide-for-families" TargetMode="Externa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32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ABC4D2FC-9DA2-0EB0-DFBC-2296D8B0B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3929" y="1978792"/>
            <a:ext cx="8181508" cy="1354217"/>
          </a:xfrm>
        </p:spPr>
        <p:txBody>
          <a:bodyPr/>
          <a:lstStyle/>
          <a:p>
            <a:r>
              <a:rPr lang="en-US" dirty="0"/>
              <a:t>ORI &amp; AG Presentation for </a:t>
            </a:r>
            <a:br>
              <a:rPr lang="en-US" dirty="0"/>
            </a:br>
            <a:r>
              <a:rPr lang="en-US" dirty="0"/>
              <a:t>K-12 Public Schools</a:t>
            </a:r>
            <a:endParaRPr lang="en-US" dirty="0">
              <a:cs typeface="Arial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B21BC5EB-5E5E-0B59-70EC-76C1B1C267E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cs typeface="Arial"/>
              </a:rPr>
              <a:t>Know Your Students' Rights</a:t>
            </a: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C3A95F33-A258-D417-99F7-8ACF24B4D059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C3A95F33-A258-D417-99F7-8ACF24B4D0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23443385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8980240-983E-0676-D9BF-72380C86EA2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602945-8948-C495-F356-66BD137A56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045" y="180342"/>
            <a:ext cx="10515600" cy="650875"/>
          </a:xfrm>
        </p:spPr>
        <p:txBody>
          <a:bodyPr wrap="square" anchor="ctr">
            <a:normAutofit/>
          </a:bodyPr>
          <a:lstStyle/>
          <a:p>
            <a:r>
              <a:rPr lang="en-US" sz="3200"/>
              <a:t>Withdrawal of Sensitive Locations Memo</a:t>
            </a:r>
            <a:endParaRPr lang="en-US" sz="3200">
              <a:cs typeface="Arial"/>
            </a:endParaRPr>
          </a:p>
        </p:txBody>
      </p:sp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96ED23E8-5B15-913E-1E42-A361015541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4071343"/>
              </p:ext>
            </p:extLst>
          </p:nvPr>
        </p:nvGraphicFramePr>
        <p:xfrm>
          <a:off x="838200" y="1293962"/>
          <a:ext cx="10515600" cy="48830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E826D2C-DD34-5AFA-F38D-84F7A63C79B0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39186973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B89237-2681-BD0B-C230-EF5F678F5C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 sz="3200" b="1" kern="1200" spc="0" baseline="0"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rPr>
              <a:t>Policies for Responding to Immigration Enforcement</a:t>
            </a:r>
            <a:endParaRPr lang="en-US" sz="3200" b="1" kern="1200" spc="0" baseline="0">
              <a:ln w="6350" cap="flat">
                <a:noFill/>
                <a:miter lim="800000"/>
              </a:ln>
              <a:latin typeface="+mj-lt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C030DAC-AD7F-66DB-2F18-3C09CAF9B1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037" y="1101337"/>
            <a:ext cx="11082528" cy="276999"/>
          </a:xfrm>
        </p:spPr>
        <p:txBody>
          <a:bodyPr vert="horz" wrap="square" lIns="0" tIns="0" rIns="0" bIns="0" rtlCol="0">
            <a:normAutofit/>
          </a:bodyPr>
          <a:lstStyle/>
          <a:p>
            <a:r>
              <a:rPr lang="en-US" sz="1600"/>
              <a:t>Review policies</a:t>
            </a:r>
            <a:r>
              <a:rPr lang="en-US" sz="1600" b="1" i="1" kern="1200">
                <a:latin typeface="+mn-lt"/>
                <a:ea typeface="+mn-ea"/>
                <a:cs typeface="Arial" panose="020B0604020202020204" pitchFamily="34" charset="0"/>
              </a:rPr>
              <a:t> and designate an administrator to respond to any Immigration Enforcement requests</a:t>
            </a: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658AC8D4-DBFA-AC83-72CD-23D973A9BE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92119201"/>
              </p:ext>
            </p:extLst>
          </p:nvPr>
        </p:nvGraphicFramePr>
        <p:xfrm>
          <a:off x="1191742" y="1439236"/>
          <a:ext cx="10270156" cy="49190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CD7823A2-EC9F-07F0-EA73-4E710DDB26B6}"/>
              </a:ext>
            </a:extLst>
          </p:cNvPr>
          <p:cNvSpPr txBox="1"/>
          <p:nvPr/>
        </p:nvSpPr>
        <p:spPr>
          <a:xfrm>
            <a:off x="2883959" y="6501122"/>
            <a:ext cx="6584949" cy="18466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>
                <a:solidFill>
                  <a:srgbClr val="A6A6A6"/>
                </a:solidFill>
                <a:cs typeface="Arial"/>
              </a:rPr>
              <a:t>.</a:t>
            </a:r>
            <a:endParaRPr lang="en-US" sz="12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F6E9E5-31E9-6814-463D-E2F800FA7221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17961543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FC4C6C-522A-7096-2648-4DE1DF6B9C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7579003-0161-FDCB-A3BE-31B76F4AF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2800" b="1" kern="1200" spc="0" baseline="0"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rPr>
              <a:t>Guidance Regarding Public Schools’ Obligations to Protect Students and Their Inform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F027A0-A49E-2102-8750-41BDE74404CF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1514475"/>
            <a:ext cx="11082528" cy="1631216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2400" dirty="0">
                <a:cs typeface="Arial"/>
              </a:rPr>
              <a:t>Presented by Liza Hirsch, Director of the Children’s Justice Unit at the Massachusetts Attorney General’s Office</a:t>
            </a:r>
          </a:p>
          <a:p>
            <a:r>
              <a:rPr lang="en-US" sz="2400" dirty="0">
                <a:cs typeface="Arial"/>
              </a:rPr>
              <a:t>Flora Chang, Assistant Attorney General, Children’s Justice Unit</a:t>
            </a:r>
          </a:p>
          <a:p>
            <a:endParaRPr lang="en-US" sz="2400" dirty="0">
              <a:cs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EE1ADC-0415-A2CF-B986-82239E712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087" y="2666492"/>
            <a:ext cx="6398705" cy="359971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6E09079-F4A1-4CFD-6E8C-83245C772EDD}"/>
              </a:ext>
            </a:extLst>
          </p:cNvPr>
          <p:cNvSpPr/>
          <p:nvPr/>
        </p:nvSpPr>
        <p:spPr>
          <a:xfrm>
            <a:off x="8387443" y="2999015"/>
            <a:ext cx="2424792" cy="2424792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>
                <a:solidFill>
                  <a:schemeClr val="bg1"/>
                </a:solidFill>
                <a:cs typeface="Arial"/>
              </a:rPr>
              <a:t>QR Code</a:t>
            </a:r>
            <a:endParaRPr lang="en-US" sz="1600" err="1">
              <a:solidFill>
                <a:schemeClr val="bg1"/>
              </a:solidFill>
            </a:endParaRPr>
          </a:p>
        </p:txBody>
      </p:sp>
      <p:pic>
        <p:nvPicPr>
          <p:cNvPr id="7" name="Picture 6" descr="QR CODE">
            <a:extLst>
              <a:ext uri="{FF2B5EF4-FFF2-40B4-BE49-F238E27FC236}">
                <a16:creationId xmlns:a16="http://schemas.microsoft.com/office/drawing/2014/main" id="{DD44D8EB-1CFE-B12F-5324-82EFD72933A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1595" y="3094182"/>
            <a:ext cx="2288445" cy="2228273"/>
          </a:xfrm>
          <a:prstGeom prst="rect">
            <a:avLst/>
          </a:prstGeom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EA2D646A-61B1-0742-2FFA-76A5C71C1A20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41774310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8CB3F1B3-7A6C-BF98-770E-55F3AB981C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4800" y="3041151"/>
            <a:ext cx="11071057" cy="102741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C2DDF6"/>
              </a:solidFill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9EDBE070-AAF3-90E1-E8E4-2C99E017A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4799" y="1641981"/>
            <a:ext cx="11071057" cy="126591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rgbClr val="C2DDF6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664476-A78C-E259-9424-48BF0AAED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2800">
                <a:ea typeface="+mj-lt"/>
                <a:cs typeface="+mj-lt"/>
              </a:rPr>
              <a:t>Rights of All Students to Education Regardless of </a:t>
            </a:r>
            <a:br>
              <a:rPr lang="en-US" sz="2800">
                <a:ea typeface="+mj-lt"/>
                <a:cs typeface="+mj-lt"/>
              </a:rPr>
            </a:br>
            <a:r>
              <a:rPr lang="en-US" sz="2800">
                <a:ea typeface="+mj-lt"/>
                <a:cs typeface="+mj-lt"/>
              </a:rPr>
              <a:t>Immigration or Citizenship Status</a:t>
            </a:r>
            <a:endParaRPr lang="en-US" sz="28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4D6D1A-E015-3E75-10D5-BF0E64805EF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67873" y="1872274"/>
            <a:ext cx="11069391" cy="4216539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400">
                <a:ea typeface="+mn-lt"/>
                <a:cs typeface="+mn-lt"/>
              </a:rPr>
              <a:t>Schools must provide equal access to education to all students regardless of  immigration or citizenship status. </a:t>
            </a:r>
            <a:endParaRPr lang="en-US" sz="2000">
              <a:ea typeface="+mn-lt"/>
              <a:cs typeface="+mn-lt"/>
            </a:endParaRPr>
          </a:p>
          <a:p>
            <a:pPr marL="0" indent="0">
              <a:buNone/>
            </a:pPr>
            <a:endParaRPr lang="en-US" sz="2400">
              <a:ea typeface="+mn-lt"/>
              <a:cs typeface="+mn-lt"/>
            </a:endParaRP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400">
                <a:ea typeface="+mn-lt"/>
                <a:cs typeface="+mn-lt"/>
              </a:rPr>
              <a:t>Schools must avoid policies that discourage or deny access to school on the basis of immigration status.</a:t>
            </a:r>
            <a:endParaRPr lang="en-US" sz="2000">
              <a:ea typeface="+mn-lt"/>
              <a:cs typeface="+mn-lt"/>
            </a:endParaRPr>
          </a:p>
          <a:p>
            <a:pPr marL="0" indent="0">
              <a:buNone/>
            </a:pPr>
            <a:endParaRPr lang="en-US" sz="2400">
              <a:ea typeface="+mn-lt"/>
              <a:cs typeface="+mn-lt"/>
            </a:endParaRPr>
          </a:p>
          <a:p>
            <a:pPr marL="0" indent="0">
              <a:buNone/>
            </a:pPr>
            <a:r>
              <a:rPr lang="en-US" sz="2000">
                <a:ea typeface="+mn-lt"/>
                <a:cs typeface="+mn-lt"/>
              </a:rPr>
              <a:t>For more information:</a:t>
            </a:r>
            <a:endParaRPr lang="en-US" sz="2000">
              <a:ea typeface="+mn-lt"/>
            </a:endParaRP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000">
                <a:ea typeface="+mn-lt"/>
                <a:cs typeface="+mn-lt"/>
                <a:hlinkClick r:id="rId2"/>
              </a:rPr>
              <a:t>Attorney General’s Advisory Regarding Equal Access to Public Education for All Students Irrespective of Immigration Status</a:t>
            </a:r>
            <a:r>
              <a:rPr lang="en-US" sz="2000">
                <a:ea typeface="+mn-lt"/>
                <a:cs typeface="+mn-lt"/>
              </a:rPr>
              <a:t> (updated April 2022). </a:t>
            </a:r>
            <a:endParaRPr lang="en-US" sz="2000">
              <a:ea typeface="+mn-lt"/>
            </a:endParaRPr>
          </a:p>
          <a:p>
            <a:pPr marL="285750" indent="-285750">
              <a:buFont typeface="Arial" panose="05000000000000000000" pitchFamily="2" charset="2"/>
              <a:buChar char="•"/>
            </a:pPr>
            <a:r>
              <a:rPr lang="en-US" sz="2000">
                <a:ea typeface="+mn-lt"/>
                <a:cs typeface="+mn-lt"/>
                <a:hlinkClick r:id="rId3"/>
              </a:rPr>
              <a:t>Upholding the Rights of Immigrant Students to Enroll in School: Guidance for School Committees and Districts</a:t>
            </a:r>
            <a:r>
              <a:rPr lang="en-US" sz="2000">
                <a:ea typeface="+mn-lt"/>
                <a:cs typeface="+mn-lt"/>
              </a:rPr>
              <a:t> (December 2024)</a:t>
            </a:r>
            <a:endParaRPr lang="en-US" sz="2000"/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8FDFB4C8-808A-07AB-A888-5BDCBDAFABF0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13208672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02F771-B75D-E6C8-1C13-4D59DCF91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2800">
                <a:cs typeface="Arial"/>
              </a:rPr>
              <a:t>Family Educational Rights and Privacy Act of 1974 (FERPA) and the Massachusetts Student Records Regulations</a:t>
            </a:r>
            <a:endParaRPr lang="en-US" sz="2800"/>
          </a:p>
        </p:txBody>
      </p:sp>
      <p:pic>
        <p:nvPicPr>
          <p:cNvPr id="7" name="Picture 6" descr="Stack of files">
            <a:extLst>
              <a:ext uri="{FF2B5EF4-FFF2-40B4-BE49-F238E27FC236}">
                <a16:creationId xmlns:a16="http://schemas.microsoft.com/office/drawing/2014/main" id="{7ADD7999-EBC9-8EBD-38F1-FE15D2BE395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983" r="-514"/>
          <a:stretch/>
        </p:blipFill>
        <p:spPr>
          <a:xfrm>
            <a:off x="0" y="913550"/>
            <a:ext cx="12204261" cy="5936736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BA72050-886D-04AE-451A-B3ECE3DC59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75838" y="1566123"/>
            <a:ext cx="11652583" cy="47422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C152FF5-88FE-86F2-84D0-286788F3DC8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037" y="2649135"/>
            <a:ext cx="11082528" cy="2585323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buFont typeface="Arial" panose="05000000000000000000" pitchFamily="2" charset="2"/>
              <a:buChar char="•"/>
            </a:pPr>
            <a:r>
              <a:rPr lang="en-US" sz="2800">
                <a:cs typeface="Arial"/>
              </a:rPr>
              <a:t>Schools cannot disclose, either orally or in writing, a student's </a:t>
            </a:r>
            <a:r>
              <a:rPr lang="en-US" sz="2800" b="1">
                <a:cs typeface="Arial"/>
              </a:rPr>
              <a:t>personally identifiable information </a:t>
            </a:r>
            <a:r>
              <a:rPr lang="en-US" sz="2800">
                <a:cs typeface="Arial"/>
              </a:rPr>
              <a:t>(e.g. student’s name, address, social security number, student number, date of birth, mother’s maiden name, etc.) to third parties (including ICE agents) without the student's parent or guardian’s specific informed consent, unless there is a specific exception permitting disclosure.</a:t>
            </a:r>
            <a:endParaRPr lang="en-US" sz="2800"/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43A01256-C0C1-5C80-8583-4EBF8FA05AEC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21219669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1215A-3743-A267-6E59-C11CD6660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3200">
                <a:cs typeface="Arial"/>
              </a:rPr>
              <a:t>Exceptions to the General Rule</a:t>
            </a:r>
            <a:endParaRPr lang="en-US" sz="32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00DCA-59F3-5DF1-CEE2-EC36FF07C07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92654" y="1604712"/>
            <a:ext cx="11811397" cy="3916457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800" b="1">
                <a:ea typeface="+mn-lt"/>
                <a:cs typeface="+mn-lt"/>
              </a:rPr>
              <a:t>Judicial Order or Subpoena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But still need to first notify the parent (or student, if aged 18+) before complying unless there’s an exception to the notification rule.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800" b="1">
                <a:ea typeface="+mn-lt"/>
                <a:cs typeface="+mn-lt"/>
              </a:rPr>
              <a:t>Requests from Education officials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For the purpose of an audit, evaluation, or federal and state education law enforcement.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Data must be protected from third parties and should be destroyed once no longer needed.</a:t>
            </a:r>
            <a:endParaRPr lang="en-US" sz="2000">
              <a:ea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800" b="1">
                <a:ea typeface="+mn-lt"/>
                <a:cs typeface="+mn-lt"/>
              </a:rPr>
              <a:t>Requests from Police, Prosecutors, DCF investigators, or Healthcare staff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For the health or safety of the student or others. 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Requestors must agree to not disclose the information to a third party. </a:t>
            </a:r>
            <a:endParaRPr lang="en-US" sz="2000">
              <a:ea typeface="+mn-lt"/>
            </a:endParaRP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B63E47FE-C50D-619B-C73F-CA77373487A2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26477914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19F6E9-B2A9-71CB-DF89-1BFD350FDB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3200" dirty="0">
                <a:cs typeface="Arial"/>
              </a:rPr>
              <a:t>Exceptions to the General Rule 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D021A8-980C-6375-4283-52E9BFCB3298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265907" y="1564606"/>
            <a:ext cx="10631343" cy="4455066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US" sz="2800" b="1">
                <a:ea typeface="+mn-lt"/>
                <a:cs typeface="+mn-lt"/>
              </a:rPr>
              <a:t>4. Requests for Directory Information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Designate information as directory only if not generally considered harmful or an invasion of privacy if disclosed.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Limit disclosure of directory information to specific parties, specific purposes, or both.</a:t>
            </a:r>
          </a:p>
          <a:p>
            <a:pPr marL="800100" lvl="2" indent="-342900"/>
            <a:r>
              <a:rPr lang="en-US" sz="2000">
                <a:ea typeface="+mn-lt"/>
                <a:cs typeface="+mn-lt"/>
              </a:rPr>
              <a:t>Notify parents/guardians of directory policies and allow parents to opt out at anytime, at least once a year. If a parent/guardian opts out of including their child’s information in the directory, the school cannot share the information.</a:t>
            </a:r>
            <a:endParaRPr lang="en-US">
              <a:ea typeface="+mn-lt"/>
            </a:endParaRPr>
          </a:p>
          <a:p>
            <a:pPr>
              <a:buFont typeface="Arial" panose="05000000000000000000" pitchFamily="2" charset="2"/>
              <a:buChar char="•"/>
            </a:pPr>
            <a:r>
              <a:rPr lang="en-US" sz="2400">
                <a:ea typeface="+mn-lt"/>
                <a:cs typeface="+mn-lt"/>
              </a:rPr>
              <a:t>Examples:</a:t>
            </a:r>
          </a:p>
          <a:p>
            <a:pPr lvl="2" indent="-213995">
              <a:buFont typeface="Arial" panose="05000000000000000000" pitchFamily="2" charset="2"/>
              <a:buChar char="•"/>
            </a:pPr>
            <a:r>
              <a:rPr lang="en-US" sz="2000">
                <a:ea typeface="+mn-lt"/>
                <a:cs typeface="+mn-lt"/>
              </a:rPr>
              <a:t>Schools may limit the directory information to a student’s name, phone number, grade level, dates of attendance, participation in activities and sports, or honors and awards received.</a:t>
            </a:r>
            <a:endParaRPr lang="en-US" sz="2000">
              <a:ea typeface="+mn-lt"/>
              <a:cs typeface="Arial"/>
            </a:endParaRPr>
          </a:p>
          <a:p>
            <a:pPr lvl="2" indent="-213995">
              <a:buFont typeface="Arial" panose="05000000000000000000" pitchFamily="2" charset="2"/>
              <a:buChar char="•"/>
            </a:pPr>
            <a:r>
              <a:rPr lang="en-US" sz="2000">
                <a:ea typeface="+mn-lt"/>
                <a:cs typeface="+mn-lt"/>
              </a:rPr>
              <a:t>Schools may decide to limit disclosure of directory information to their school community, and not disclose the information to third parties.</a:t>
            </a:r>
            <a:endParaRPr lang="en-US" sz="2000">
              <a:ea typeface="+mn-lt"/>
              <a:cs typeface="Arial"/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44002A4-B3AE-3A2A-305C-147E178526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4905" y="2510589"/>
            <a:ext cx="914400" cy="9144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01048813-5E2D-6E65-6433-BB480C7F3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44905" y="4505826"/>
            <a:ext cx="914400" cy="9144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01D1D44-DE44-E0CC-7D86-9B079D28D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4905" y="5688932"/>
            <a:ext cx="914400" cy="914400"/>
          </a:xfrm>
          <a:prstGeom prst="rect">
            <a:avLst/>
          </a:prstGeom>
        </p:spPr>
      </p:pic>
      <p:sp>
        <p:nvSpPr>
          <p:cNvPr id="5" name="TextBox 10">
            <a:extLst>
              <a:ext uri="{FF2B5EF4-FFF2-40B4-BE49-F238E27FC236}">
                <a16:creationId xmlns:a16="http://schemas.microsoft.com/office/drawing/2014/main" id="{A6A0CB59-A99B-7F14-81FF-8F22A8E2CF7B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12556769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1215A-3743-A267-6E59-C11CD6660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2800">
                <a:cs typeface="Arial"/>
              </a:rPr>
              <a:t>Guidance on ICE Requests to </a:t>
            </a:r>
            <a:r>
              <a:rPr lang="en-US" sz="2800" b="1"/>
              <a:t>Meet or Interview Student</a:t>
            </a:r>
            <a:r>
              <a:rPr lang="en-US" sz="2800" b="1">
                <a:solidFill>
                  <a:schemeClr val="bg1"/>
                </a:solidFill>
              </a:rPr>
              <a:t>s or Obtain Students’ Information</a:t>
            </a:r>
            <a:endParaRPr lang="en-US" sz="2800">
              <a:solidFill>
                <a:schemeClr val="bg1"/>
              </a:solidFill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00DCA-59F3-5DF1-CEE2-EC36FF07C07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153241" y="1683539"/>
            <a:ext cx="11850810" cy="446276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000">
                <a:ea typeface="Calibri"/>
                <a:cs typeface="Calibri"/>
              </a:rPr>
              <a:t>Schools may respond with statements such as “the school can neither confirm nor deny a student’s personally identifiable information.”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>
                <a:ea typeface="Calibri"/>
                <a:cs typeface="Calibri"/>
              </a:rPr>
              <a:t>Refer ICE to the district’s central office to ensure proper protocol is followed.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>
                <a:ea typeface="Calibri"/>
                <a:cs typeface="Calibri"/>
              </a:rPr>
              <a:t>Contact the district’s legal counsel to discuss the appropriate response before proceeding.</a:t>
            </a:r>
            <a:endParaRPr lang="en-US" sz="2000">
              <a:cs typeface="+mn-cs"/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000">
                <a:ea typeface="Calibri"/>
                <a:cs typeface="Calibri"/>
              </a:rPr>
              <a:t>Immediately inform the student’s parent or guardian </a:t>
            </a:r>
          </a:p>
          <a:p>
            <a:pPr marL="914400" lvl="2" indent="-457200"/>
            <a:r>
              <a:rPr lang="en-US" sz="2000">
                <a:ea typeface="Calibri"/>
                <a:cs typeface="Calibri"/>
              </a:rPr>
              <a:t>Allows schools to obtain the specific, informed written consent of a parent/guardian (or eligible student)</a:t>
            </a:r>
          </a:p>
          <a:p>
            <a:pPr marL="914400" lvl="2" indent="-457200"/>
            <a:r>
              <a:rPr lang="en-US" sz="2000">
                <a:ea typeface="Calibri"/>
                <a:cs typeface="Calibri"/>
              </a:rPr>
              <a:t>Allows parent/guardian an opportunity to seek a protective order or other relief in court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000">
                <a:ea typeface="Calibri"/>
                <a:cs typeface="Calibri"/>
              </a:rPr>
              <a:t>If the agent presents a warrant, school legal counsel should confirm that it is a judicial rather than administrative warrant and to determine the scope of the search or arrest authority it provides.</a:t>
            </a:r>
          </a:p>
          <a:p>
            <a:pPr marL="914400" lvl="2" indent="-457200"/>
            <a:r>
              <a:rPr lang="en-US" sz="2000">
                <a:ea typeface="Calibri"/>
                <a:cs typeface="Calibri"/>
              </a:rPr>
              <a:t>Check to see if the warrant or order is signed by a federal or state judge or magistrate.</a:t>
            </a:r>
          </a:p>
          <a:p>
            <a:pPr marL="914400" lvl="2" indent="-457200"/>
            <a:r>
              <a:rPr lang="en-US" sz="2000">
                <a:ea typeface="Calibri"/>
                <a:cs typeface="Calibri"/>
              </a:rPr>
              <a:t>Determine the scope of the search or arrest authority that the judicial warrant, order, or subpoena provides.</a:t>
            </a: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E2A78D11-2E1A-67A2-9784-7378D9F8A92D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2734697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B45DB-0F23-5116-A748-5D2A5D49F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rIns="0" bIns="0" rtlCol="0" anchor="ctr" anchorCtr="0">
            <a:noAutofit/>
          </a:bodyPr>
          <a:lstStyle/>
          <a:p>
            <a:r>
              <a:rPr lang="en-US" sz="3200">
                <a:cs typeface="Arial"/>
              </a:rPr>
              <a:t>Share Plan Ahead Resources with Parents/Guardia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5B0FFE-F853-BFC0-3BB7-E2BDC1D6775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54736" y="1575941"/>
            <a:ext cx="11082528" cy="4462760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0" indent="0">
              <a:buNone/>
            </a:pPr>
            <a:r>
              <a:rPr lang="en-US" sz="2000">
                <a:ea typeface="+mn-lt"/>
                <a:cs typeface="+mn-lt"/>
              </a:rPr>
              <a:t>Changes in federal immigration policy could increase arrest and detention, which impacts school communities. Schools should be prepared should a parent be arrested or detained by ICE and may consider taking the following proactive steps:</a:t>
            </a:r>
            <a:endParaRPr lang="en-US" sz="2000">
              <a:ea typeface="+mn-lt"/>
            </a:endParaRPr>
          </a:p>
          <a:p>
            <a:pPr marL="0" indent="0">
              <a:buNone/>
            </a:pPr>
            <a:endParaRPr lang="en-US" sz="2000">
              <a:ea typeface="+mn-lt"/>
              <a:cs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>
                <a:ea typeface="+mn-lt"/>
                <a:cs typeface="+mn-lt"/>
              </a:rPr>
              <a:t>Provide regular opportunities to update emergency contact information, alternative caretaker contacts, and authorized pick-up contacts.</a:t>
            </a:r>
            <a:endParaRPr lang="en-US" sz="2000">
              <a:ea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>
                <a:ea typeface="+mn-lt"/>
                <a:cs typeface="+mn-lt"/>
              </a:rPr>
              <a:t>Share 'plan ahead' resources with families. See: </a:t>
            </a:r>
            <a:r>
              <a:rPr lang="en-US" sz="2000">
                <a:ea typeface="+mn-lt"/>
                <a:cs typeface="+mn-lt"/>
                <a:hlinkClick r:id="rId2"/>
              </a:rPr>
              <a:t>Emergency Planning Guide for Parents with Uncertain Immigration Status</a:t>
            </a:r>
            <a:r>
              <a:rPr lang="en-US" sz="2000">
                <a:ea typeface="+mn-lt"/>
                <a:cs typeface="+mn-lt"/>
              </a:rPr>
              <a:t>.</a:t>
            </a:r>
            <a:endParaRPr lang="en-US" sz="2000">
              <a:ea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>
                <a:ea typeface="+mn-lt"/>
                <a:cs typeface="+mn-lt"/>
              </a:rPr>
              <a:t>Review your school’s policy or guidance to ensure it includes steps to take if a student cannot safely return home.</a:t>
            </a:r>
            <a:endParaRPr lang="en-US" sz="2000">
              <a:ea typeface="+mn-lt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>
                <a:ea typeface="+mn-lt"/>
                <a:cs typeface="+mn-lt"/>
              </a:rPr>
              <a:t>Support the needs of students who are facing increased anxiety as well as families who have been directly affected by changes to federal immigration policy. </a:t>
            </a:r>
            <a:endParaRPr lang="en-US" sz="2000">
              <a:ea typeface="+mn-lt"/>
            </a:endParaRPr>
          </a:p>
          <a:p>
            <a:pPr marL="0" indent="0">
              <a:buNone/>
            </a:pP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5" name="TextBox 10">
            <a:extLst>
              <a:ext uri="{FF2B5EF4-FFF2-40B4-BE49-F238E27FC236}">
                <a16:creationId xmlns:a16="http://schemas.microsoft.com/office/drawing/2014/main" id="{6FB90BD8-D99D-A7DB-1F05-FC4A19AC8D91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9469741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11E36-3E2C-0773-C7D4-7048B21EF4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 sz="3200"/>
              <a:t>Know Your Rights Presentations</a:t>
            </a:r>
            <a:endParaRPr lang="en-US" sz="3200">
              <a:cs typeface="Arial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04B9A0-1F5B-A1BC-7233-F9724753C0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037" y="1101337"/>
            <a:ext cx="11082528" cy="276999"/>
          </a:xfrm>
        </p:spPr>
        <p:txBody>
          <a:bodyPr vert="horz" wrap="square" lIns="0" tIns="0" rIns="0" bIns="0" rtlCol="0">
            <a:normAutofit/>
          </a:bodyPr>
          <a:lstStyle/>
          <a:p>
            <a:r>
              <a:rPr lang="en-US"/>
              <a:t>For individual schools, non-profits or community organizations wishing to host a KYR presentation</a:t>
            </a:r>
          </a:p>
        </p:txBody>
      </p:sp>
      <p:graphicFrame>
        <p:nvGraphicFramePr>
          <p:cNvPr id="6" name="Content Placeholder 2">
            <a:extLst>
              <a:ext uri="{FF2B5EF4-FFF2-40B4-BE49-F238E27FC236}">
                <a16:creationId xmlns:a16="http://schemas.microsoft.com/office/drawing/2014/main" id="{7C5DF439-5B89-2C76-7A61-6D1CF3EB9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259297850"/>
              </p:ext>
            </p:extLst>
          </p:nvPr>
        </p:nvGraphicFramePr>
        <p:xfrm>
          <a:off x="554735" y="1380610"/>
          <a:ext cx="5438775" cy="4857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7" name="Content Placeholder 6" descr="Law books section in library">
            <a:extLst>
              <a:ext uri="{FF2B5EF4-FFF2-40B4-BE49-F238E27FC236}">
                <a16:creationId xmlns:a16="http://schemas.microsoft.com/office/drawing/2014/main" id="{9944B0C5-926E-5C6A-EC62-670A610A4B07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9188" y="2130216"/>
            <a:ext cx="5438775" cy="3626267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B74E431-738C-1ADD-66CE-197EB7EF395B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35160696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2512E-0578-324B-3471-4003C72B4F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 sz="3200"/>
              <a:t>Today's Presenters</a:t>
            </a:r>
            <a:endParaRPr lang="en-US" sz="3200">
              <a:cs typeface="Arial"/>
            </a:endParaRPr>
          </a:p>
        </p:txBody>
      </p:sp>
      <p:pic>
        <p:nvPicPr>
          <p:cNvPr id="7" name="Content Placeholder 6" descr="Seated people in rows indoors, with one arm raised, facing standing presenter in formal dress shirt and tie">
            <a:extLst>
              <a:ext uri="{FF2B5EF4-FFF2-40B4-BE49-F238E27FC236}">
                <a16:creationId xmlns:a16="http://schemas.microsoft.com/office/drawing/2014/main" id="{0DF7E6EB-007F-F296-5CD5-A012CCF22ECD}"/>
              </a:ext>
            </a:extLst>
          </p:cNvPr>
          <p:cNvPicPr>
            <a:picLocks noGrp="1" noChangeAspect="1"/>
          </p:cNvPicPr>
          <p:nvPr>
            <p:ph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737" y="1514475"/>
            <a:ext cx="5438775" cy="4857750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A4B029A-DDF3-628F-8A6F-5349E070B981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39E84CC-EE7D-CC89-E422-A65D23B68414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9188" y="1577245"/>
            <a:ext cx="5438775" cy="4732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8847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9569D02-2016-27C3-F3F8-24F1B333C7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 sz="3200"/>
              <a:t>Immigration Legal Resources</a:t>
            </a:r>
            <a:endParaRPr lang="en-US" sz="3200">
              <a:cs typeface="Arial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CF8E94B-FBE0-CB22-5744-0CAC3D227A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4037" y="1101337"/>
            <a:ext cx="11082528" cy="276999"/>
          </a:xfrm>
        </p:spPr>
        <p:txBody>
          <a:bodyPr/>
          <a:lstStyle/>
          <a:p>
            <a:r>
              <a:rPr lang="en-US" dirty="0"/>
              <a:t>It may take time to find a provider, please use trusted providers and check references.</a:t>
            </a:r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50D0E624-119F-961A-6B70-E0F62AA1B4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914560331"/>
              </p:ext>
            </p:extLst>
          </p:nvPr>
        </p:nvGraphicFramePr>
        <p:xfrm>
          <a:off x="554037" y="1514475"/>
          <a:ext cx="11082528" cy="4857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4ABBFBDF-EE27-8505-1A9A-13199987E9CF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25488756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Google Shape;324;p55"/>
          <p:cNvSpPr txBox="1">
            <a:spLocks noGrp="1"/>
          </p:cNvSpPr>
          <p:nvPr>
            <p:ph type="title"/>
          </p:nvPr>
        </p:nvSpPr>
        <p:spPr>
          <a:xfrm>
            <a:off x="374627" y="116794"/>
            <a:ext cx="10602418" cy="7315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33" tIns="45700" rIns="91433" bIns="45700" rtlCol="0" anchor="ctr" anchorCtr="0">
            <a:noAutofit/>
          </a:bodyPr>
          <a:lstStyle/>
          <a:p>
            <a:pPr>
              <a:buSzPts val="3000"/>
            </a:pPr>
            <a:r>
              <a:rPr lang="en" sz="3200"/>
              <a:t>Overview of Department of Homeland Security</a:t>
            </a:r>
            <a:endParaRPr sz="3200"/>
          </a:p>
        </p:txBody>
      </p:sp>
      <p:grpSp>
        <p:nvGrpSpPr>
          <p:cNvPr id="326" name="Google Shape;326;p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145538" y="1323168"/>
            <a:ext cx="7895173" cy="4857021"/>
            <a:chOff x="0" y="0"/>
            <a:chExt cx="6400800" cy="4622799"/>
          </a:xfrm>
        </p:grpSpPr>
        <p:sp>
          <p:nvSpPr>
            <p:cNvPr id="327" name="Google Shape;327;p55"/>
            <p:cNvSpPr/>
            <p:nvPr/>
          </p:nvSpPr>
          <p:spPr>
            <a:xfrm>
              <a:off x="0" y="0"/>
              <a:ext cx="6400800" cy="2080200"/>
            </a:xfrm>
            <a:prstGeom prst="roundRect">
              <a:avLst>
                <a:gd name="adj" fmla="val 10000"/>
              </a:avLst>
            </a:prstGeom>
            <a:solidFill>
              <a:srgbClr val="CCD3EA">
                <a:alpha val="88240"/>
              </a:srgbClr>
            </a:solidFill>
            <a:ln w="12700" cap="flat" cmpd="sng">
              <a:solidFill>
                <a:srgbClr val="CCD3EA">
                  <a:alpha val="88240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8" name="Google Shape;328;p55"/>
            <p:cNvSpPr/>
            <p:nvPr/>
          </p:nvSpPr>
          <p:spPr>
            <a:xfrm>
              <a:off x="192024" y="277368"/>
              <a:ext cx="1880100" cy="1525500"/>
            </a:xfrm>
            <a:prstGeom prst="roundRect">
              <a:avLst>
                <a:gd name="adj" fmla="val 10000"/>
              </a:avLst>
            </a:prstGeom>
            <a:solidFill>
              <a:srgbClr val="BFC8E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9" name="Google Shape;329;p55"/>
            <p:cNvSpPr/>
            <p:nvPr/>
          </p:nvSpPr>
          <p:spPr>
            <a:xfrm rot="10800000">
              <a:off x="192159" y="2080299"/>
              <a:ext cx="1880100" cy="2542500"/>
            </a:xfrm>
            <a:prstGeom prst="round2SameRect">
              <a:avLst>
                <a:gd name="adj1" fmla="val 10500"/>
                <a:gd name="adj2" fmla="val 0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0" name="Google Shape;330;p55"/>
            <p:cNvSpPr txBox="1"/>
            <p:nvPr/>
          </p:nvSpPr>
          <p:spPr>
            <a:xfrm>
              <a:off x="249848" y="2080259"/>
              <a:ext cx="1764600" cy="2484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0900" tIns="120900" rIns="120900" bIns="120900" anchor="t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lt1"/>
                </a:buClr>
                <a:buSzPts val="1300"/>
              </a:pPr>
              <a:r>
                <a:rPr lang="en" sz="20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Immigration Police / Enforcement, Detention &amp; Deportation, representing the DHS in immigration proceedings</a:t>
              </a:r>
              <a:endParaRPr sz="1733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1" name="Google Shape;331;p55"/>
            <p:cNvSpPr/>
            <p:nvPr/>
          </p:nvSpPr>
          <p:spPr>
            <a:xfrm>
              <a:off x="2260282" y="277368"/>
              <a:ext cx="1880100" cy="1525500"/>
            </a:xfrm>
            <a:prstGeom prst="roundRect">
              <a:avLst>
                <a:gd name="adj" fmla="val 10000"/>
              </a:avLst>
            </a:prstGeom>
            <a:solidFill>
              <a:srgbClr val="BFC8E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2" name="Google Shape;332;p55"/>
            <p:cNvSpPr/>
            <p:nvPr/>
          </p:nvSpPr>
          <p:spPr>
            <a:xfrm rot="10800000">
              <a:off x="2260417" y="2080299"/>
              <a:ext cx="1880100" cy="2542500"/>
            </a:xfrm>
            <a:prstGeom prst="round2SameRect">
              <a:avLst>
                <a:gd name="adj1" fmla="val 10500"/>
                <a:gd name="adj2" fmla="val 0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3" name="Google Shape;333;p55"/>
            <p:cNvSpPr txBox="1"/>
            <p:nvPr/>
          </p:nvSpPr>
          <p:spPr>
            <a:xfrm>
              <a:off x="2318106" y="2080259"/>
              <a:ext cx="1764600" cy="2484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0900" tIns="120900" rIns="120900" bIns="120900" anchor="t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lt1"/>
                </a:buClr>
                <a:buSzPts val="1300"/>
              </a:pPr>
              <a:r>
                <a:rPr lang="en" sz="20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Enforcement at the border and within 100 miles of the border, checkpoints, and ports of entries</a:t>
              </a:r>
              <a:endParaRPr sz="1733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4" name="Google Shape;334;p55"/>
            <p:cNvSpPr/>
            <p:nvPr/>
          </p:nvSpPr>
          <p:spPr>
            <a:xfrm>
              <a:off x="4328541" y="277368"/>
              <a:ext cx="1880100" cy="1525500"/>
            </a:xfrm>
            <a:prstGeom prst="roundRect">
              <a:avLst>
                <a:gd name="adj" fmla="val 10000"/>
              </a:avLst>
            </a:prstGeom>
            <a:solidFill>
              <a:srgbClr val="BFC8E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5" name="Google Shape;335;p55"/>
            <p:cNvSpPr/>
            <p:nvPr/>
          </p:nvSpPr>
          <p:spPr>
            <a:xfrm rot="10800000">
              <a:off x="4328676" y="2080299"/>
              <a:ext cx="1880100" cy="2542500"/>
            </a:xfrm>
            <a:prstGeom prst="round2SameRect">
              <a:avLst>
                <a:gd name="adj1" fmla="val 10500"/>
                <a:gd name="adj2" fmla="val 0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6" name="Google Shape;336;p55"/>
            <p:cNvSpPr txBox="1"/>
            <p:nvPr/>
          </p:nvSpPr>
          <p:spPr>
            <a:xfrm>
              <a:off x="4386365" y="2080259"/>
              <a:ext cx="1764600" cy="2484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0900" tIns="120900" rIns="120900" bIns="120900" anchor="t" anchorCtr="0">
              <a:noAutofit/>
            </a:bodyPr>
            <a:lstStyle/>
            <a:p>
              <a:pPr algn="ctr">
                <a:lnSpc>
                  <a:spcPct val="90000"/>
                </a:lnSpc>
                <a:buClr>
                  <a:schemeClr val="lt1"/>
                </a:buClr>
                <a:buSzPts val="1300"/>
              </a:pPr>
              <a:r>
                <a:rPr lang="en" sz="20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Adjudicates petitions for immigration benefits (asylum, green cards, citizenship, special visas)</a:t>
              </a:r>
              <a:endParaRPr sz="1733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37" name="Google Shape;337;p55"/>
          <p:cNvSpPr txBox="1"/>
          <p:nvPr/>
        </p:nvSpPr>
        <p:spPr>
          <a:xfrm>
            <a:off x="2650886" y="1952047"/>
            <a:ext cx="1773200" cy="985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67" rIns="121900" bIns="60967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" sz="1867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migration &amp; Customs Enforcement</a:t>
            </a:r>
            <a:endParaRPr sz="14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8" name="Google Shape;338;p55"/>
          <p:cNvSpPr txBox="1"/>
          <p:nvPr/>
        </p:nvSpPr>
        <p:spPr>
          <a:xfrm>
            <a:off x="5338586" y="1952055"/>
            <a:ext cx="1509200" cy="985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67" rIns="121900" bIns="60967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" sz="1867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ustoms &amp; Border Protection</a:t>
            </a:r>
            <a:endParaRPr sz="14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9" name="Google Shape;339;p55"/>
          <p:cNvSpPr txBox="1"/>
          <p:nvPr/>
        </p:nvSpPr>
        <p:spPr>
          <a:xfrm>
            <a:off x="7610935" y="1952047"/>
            <a:ext cx="2004800" cy="9850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67" rIns="121900" bIns="60967" anchor="t" anchorCtr="0">
            <a:spAutoFit/>
          </a:bodyPr>
          <a:lstStyle/>
          <a:p>
            <a:pPr algn="ctr">
              <a:buClr>
                <a:srgbClr val="000000"/>
              </a:buClr>
              <a:buSzPts val="1400"/>
            </a:pPr>
            <a:r>
              <a:rPr lang="en" sz="1867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U.S. Citizenship &amp; Immigration Services</a:t>
            </a:r>
            <a:endParaRPr sz="1467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A95F33-A258-D417-99F7-8ACF24B4D059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56"/>
          <p:cNvSpPr txBox="1">
            <a:spLocks noGrp="1"/>
          </p:cNvSpPr>
          <p:nvPr>
            <p:ph type="title"/>
          </p:nvPr>
        </p:nvSpPr>
        <p:spPr/>
        <p:txBody>
          <a:bodyPr spcFirstLastPara="1" vert="horz" wrap="square" lIns="91433" tIns="45700" rIns="91433" bIns="45700" rtlCol="0" anchor="ctr" anchorCtr="0">
            <a:normAutofit fontScale="90000"/>
          </a:bodyPr>
          <a:lstStyle/>
          <a:p>
            <a:pPr>
              <a:lnSpc>
                <a:spcPct val="90000"/>
              </a:lnSpc>
              <a:buSzPts val="2700"/>
            </a:pPr>
            <a:r>
              <a:rPr lang="en" sz="2800">
                <a:cs typeface="Arial"/>
              </a:rPr>
              <a:t>How People May Come into Contact with Immigration Enforcement</a:t>
            </a:r>
            <a:endParaRPr lang="en-US" sz="2800">
              <a:cs typeface="Arial"/>
            </a:endParaRPr>
          </a:p>
        </p:txBody>
      </p:sp>
      <p:sp>
        <p:nvSpPr>
          <p:cNvPr id="353" name="Date Placeholder 2">
            <a:extLst>
              <a:ext uri="{FF2B5EF4-FFF2-40B4-BE49-F238E27FC236}">
                <a16:creationId xmlns:a16="http://schemas.microsoft.com/office/drawing/2014/main" id="{82D38EB6-8CBE-157E-84BB-03F5F8FE7EFF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29375"/>
            <a:ext cx="2743200" cy="365125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600"/>
              </a:spcAft>
            </a:pPr>
            <a:fld id="{AE4A2028-7484-452A-ABF1-ED6B866E44E1}" type="datetime1">
              <a:rPr lang="en-US" smtClean="0"/>
              <a:pPr>
                <a:spcAft>
                  <a:spcPts val="600"/>
                </a:spcAft>
              </a:pPr>
              <a:t>1/31/2025</a:t>
            </a:fld>
            <a:endParaRPr lang="en-US"/>
          </a:p>
        </p:txBody>
      </p:sp>
      <p:graphicFrame>
        <p:nvGraphicFramePr>
          <p:cNvPr id="348" name="Google Shape;346;p56">
            <a:extLst>
              <a:ext uri="{FF2B5EF4-FFF2-40B4-BE49-F238E27FC236}">
                <a16:creationId xmlns:a16="http://schemas.microsoft.com/office/drawing/2014/main" id="{1DF3C0DE-06A8-E155-64B5-DD5EC74233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598132324"/>
              </p:ext>
            </p:extLst>
          </p:nvPr>
        </p:nvGraphicFramePr>
        <p:xfrm>
          <a:off x="831273" y="1208521"/>
          <a:ext cx="10515600" cy="4954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783179F-95C0-0E5A-CF74-86BCF6E91175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3521584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p58"/>
          <p:cNvSpPr txBox="1">
            <a:spLocks noGrp="1"/>
          </p:cNvSpPr>
          <p:nvPr>
            <p:ph type="title"/>
          </p:nvPr>
        </p:nvSpPr>
        <p:spPr/>
        <p:txBody>
          <a:bodyPr spcFirstLastPara="1" vert="horz" wrap="square" lIns="91433" tIns="45700" rIns="91433" bIns="45700" rtlCol="0" anchor="ctr" anchorCtr="0">
            <a:normAutofit/>
          </a:bodyPr>
          <a:lstStyle/>
          <a:p>
            <a:pPr>
              <a:buSzPts val="3000"/>
            </a:pPr>
            <a:r>
              <a:rPr lang="en-US" sz="3200"/>
              <a:t>Who is at Risk of Removal/Denial of Admission?</a:t>
            </a:r>
            <a:endParaRPr lang="en-US" sz="3200">
              <a:cs typeface="Arial"/>
            </a:endParaRPr>
          </a:p>
        </p:txBody>
      </p:sp>
      <p:sp>
        <p:nvSpPr>
          <p:cNvPr id="383" name="Date Placeholder 2">
            <a:extLst>
              <a:ext uri="{FF2B5EF4-FFF2-40B4-BE49-F238E27FC236}">
                <a16:creationId xmlns:a16="http://schemas.microsoft.com/office/drawing/2014/main" id="{D00133CC-E0EA-3A24-EFF1-35280846A68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29375"/>
            <a:ext cx="2743200" cy="365125"/>
          </a:xfrm>
          <a:prstGeom prst="rect">
            <a:avLst/>
          </a:prstGeom>
        </p:spPr>
        <p:txBody>
          <a:bodyPr anchor="ctr">
            <a:normAutofit lnSpcReduction="10000"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AE4A2028-7484-452A-ABF1-ED6B866E44E1}" type="datetime1">
              <a:rPr kumimoji="0" lang="en-US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/31/2025</a:t>
            </a:fld>
            <a:endParaRPr kumimoji="0"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379" name="Google Shape;377;p58">
            <a:extLst>
              <a:ext uri="{FF2B5EF4-FFF2-40B4-BE49-F238E27FC236}">
                <a16:creationId xmlns:a16="http://schemas.microsoft.com/office/drawing/2014/main" id="{E0A2B1E9-55C4-5FE4-F25A-7FB6220FC5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291132349"/>
              </p:ext>
            </p:extLst>
          </p:nvPr>
        </p:nvGraphicFramePr>
        <p:xfrm>
          <a:off x="1044575" y="1222375"/>
          <a:ext cx="11147425" cy="4954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639707F2-46C7-8882-9786-7EDF8AF91A84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4" name="Google Shape;354;p5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vert="horz" wrap="square" lIns="91433" tIns="45700" rIns="91433" bIns="45700" rtlCol="0" anchor="ctr" anchorCtr="0">
            <a:noAutofit/>
          </a:bodyPr>
          <a:lstStyle/>
          <a:p>
            <a:pPr>
              <a:buSzPts val="3000"/>
            </a:pPr>
            <a:r>
              <a:rPr lang="en" sz="3000"/>
              <a:t>Reasons for Deportation</a:t>
            </a:r>
            <a:endParaRPr sz="3000">
              <a:cs typeface="Arial"/>
            </a:endParaRPr>
          </a:p>
        </p:txBody>
      </p:sp>
      <p:grpSp>
        <p:nvGrpSpPr>
          <p:cNvPr id="355" name="Google Shape;355;p5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-4566461" y="554711"/>
            <a:ext cx="14688240" cy="6561000"/>
            <a:chOff x="-5510474" y="-843685"/>
            <a:chExt cx="12910090" cy="6561000"/>
          </a:xfrm>
        </p:grpSpPr>
        <p:sp>
          <p:nvSpPr>
            <p:cNvPr id="356" name="Google Shape;356;p57"/>
            <p:cNvSpPr/>
            <p:nvPr/>
          </p:nvSpPr>
          <p:spPr>
            <a:xfrm>
              <a:off x="-5510474" y="-843685"/>
              <a:ext cx="6561000" cy="6561000"/>
            </a:xfrm>
            <a:prstGeom prst="blockArc">
              <a:avLst>
                <a:gd name="adj1" fmla="val 18900000"/>
                <a:gd name="adj2" fmla="val 2700000"/>
                <a:gd name="adj3" fmla="val 329"/>
              </a:avLst>
            </a:prstGeom>
            <a:noFill/>
            <a:ln w="12700" cap="flat" cmpd="sng">
              <a:solidFill>
                <a:srgbClr val="345A9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7" name="Google Shape;357;p57"/>
            <p:cNvSpPr/>
            <p:nvPr/>
          </p:nvSpPr>
          <p:spPr>
            <a:xfrm>
              <a:off x="533371" y="380999"/>
              <a:ext cx="6849600" cy="749700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8" name="Google Shape;358;p57"/>
            <p:cNvSpPr txBox="1"/>
            <p:nvPr/>
          </p:nvSpPr>
          <p:spPr>
            <a:xfrm>
              <a:off x="533371" y="380999"/>
              <a:ext cx="6849600" cy="74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95133" tIns="50800" rIns="50800" bIns="50800" anchor="ctr" anchorCtr="0">
              <a:noAutofit/>
            </a:bodyPr>
            <a:lstStyle/>
            <a:p>
              <a:pPr>
                <a:lnSpc>
                  <a:spcPct val="90000"/>
                </a:lnSpc>
                <a:buClr>
                  <a:schemeClr val="lt1"/>
                </a:buClr>
                <a:buSzPts val="1500"/>
              </a:pPr>
              <a:r>
                <a:rPr lang="en" sz="2400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Lack of lawful status </a:t>
              </a: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9" name="Google Shape;359;p57"/>
            <p:cNvSpPr/>
            <p:nvPr/>
          </p:nvSpPr>
          <p:spPr>
            <a:xfrm>
              <a:off x="81404" y="280971"/>
              <a:ext cx="937200" cy="9372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0" name="Google Shape;360;p57"/>
            <p:cNvSpPr/>
            <p:nvPr/>
          </p:nvSpPr>
          <p:spPr>
            <a:xfrm>
              <a:off x="979880" y="1208889"/>
              <a:ext cx="6419700" cy="1331100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1" name="Google Shape;361;p57"/>
            <p:cNvSpPr txBox="1"/>
            <p:nvPr/>
          </p:nvSpPr>
          <p:spPr>
            <a:xfrm>
              <a:off x="979880" y="1208889"/>
              <a:ext cx="6419700" cy="13311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95133" tIns="45700" rIns="45700" bIns="45700" anchor="ctr" anchorCtr="0">
              <a:noAutofit/>
            </a:bodyPr>
            <a:lstStyle/>
            <a:p>
              <a:pPr>
                <a:lnSpc>
                  <a:spcPct val="90000"/>
                </a:lnSpc>
                <a:buClr>
                  <a:schemeClr val="lt1"/>
                </a:buClr>
                <a:buSzPts val="1400"/>
              </a:pPr>
              <a:r>
                <a:rPr lang="en" sz="2250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Criminal grounds, including: </a:t>
              </a:r>
              <a:endParaRPr sz="225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>
                <a:lnSpc>
                  <a:spcPct val="90000"/>
                </a:lnSpc>
                <a:spcBef>
                  <a:spcPts val="667"/>
                </a:spcBef>
                <a:buClr>
                  <a:schemeClr val="lt1"/>
                </a:buClr>
                <a:buSzPts val="900"/>
              </a:pPr>
              <a:r>
                <a:rPr lang="en" sz="1600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- </a:t>
              </a:r>
              <a:r>
                <a:rPr lang="en" sz="1450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Nearly all drug convictions</a:t>
              </a:r>
              <a:endParaRPr sz="145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chemeClr val="lt1"/>
                </a:buClr>
                <a:buSzPts val="800"/>
              </a:pPr>
              <a:r>
                <a:rPr lang="en" sz="1450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- Some domestic violence, violation of protection order</a:t>
              </a:r>
              <a:endParaRPr sz="145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chemeClr val="lt1"/>
                </a:buClr>
                <a:buSzPts val="800"/>
              </a:pPr>
              <a:r>
                <a:rPr lang="en" sz="1450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- Some theft, fraud, and many other offenses.</a:t>
              </a:r>
              <a:endParaRPr sz="145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2" name="Google Shape;362;p57"/>
            <p:cNvSpPr/>
            <p:nvPr/>
          </p:nvSpPr>
          <p:spPr>
            <a:xfrm>
              <a:off x="511269" y="1405833"/>
              <a:ext cx="937200" cy="9372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3" name="Google Shape;363;p57"/>
            <p:cNvSpPr/>
            <p:nvPr/>
          </p:nvSpPr>
          <p:spPr>
            <a:xfrm>
              <a:off x="979880" y="2776817"/>
              <a:ext cx="6419700" cy="749700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4" name="Google Shape;364;p57"/>
            <p:cNvSpPr txBox="1"/>
            <p:nvPr/>
          </p:nvSpPr>
          <p:spPr>
            <a:xfrm>
              <a:off x="979905" y="2770967"/>
              <a:ext cx="6419700" cy="74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95133" tIns="58400" rIns="58400" bIns="58400" anchor="ctr" anchorCtr="0">
              <a:noAutofit/>
            </a:bodyPr>
            <a:lstStyle/>
            <a:p>
              <a:pPr>
                <a:lnSpc>
                  <a:spcPct val="90000"/>
                </a:lnSpc>
                <a:buClr>
                  <a:schemeClr val="lt1"/>
                </a:buClr>
                <a:buSzPts val="1700"/>
              </a:pPr>
              <a:r>
                <a:rPr lang="en" sz="2667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Immigration violations / Fraud</a:t>
              </a: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5" name="Google Shape;365;p57"/>
            <p:cNvSpPr/>
            <p:nvPr/>
          </p:nvSpPr>
          <p:spPr>
            <a:xfrm>
              <a:off x="511281" y="2629170"/>
              <a:ext cx="937200" cy="9372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6" name="Google Shape;366;p57"/>
            <p:cNvSpPr/>
            <p:nvPr/>
          </p:nvSpPr>
          <p:spPr>
            <a:xfrm>
              <a:off x="550016" y="3749279"/>
              <a:ext cx="6849600" cy="749700"/>
            </a:xfrm>
            <a:prstGeom prst="rect">
              <a:avLst/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7" name="Google Shape;367;p57"/>
            <p:cNvSpPr txBox="1"/>
            <p:nvPr/>
          </p:nvSpPr>
          <p:spPr>
            <a:xfrm>
              <a:off x="550016" y="3749279"/>
              <a:ext cx="6849600" cy="74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95133" tIns="58400" rIns="58400" bIns="58400" anchor="ctr" anchorCtr="0">
              <a:noAutofit/>
            </a:bodyPr>
            <a:lstStyle/>
            <a:p>
              <a:pPr>
                <a:lnSpc>
                  <a:spcPct val="90000"/>
                </a:lnSpc>
                <a:buClr>
                  <a:schemeClr val="lt1"/>
                </a:buClr>
                <a:buSzPts val="1700"/>
              </a:pPr>
              <a:r>
                <a:rPr lang="en" sz="2267">
                  <a:solidFill>
                    <a:schemeClr val="lt1"/>
                  </a:solidFill>
                  <a:latin typeface="Roboto"/>
                  <a:ea typeface="Roboto"/>
                  <a:cs typeface="Roboto"/>
                  <a:sym typeface="Roboto"/>
                </a:rPr>
                <a:t>Security related grounds (gang involvement, terrorism)</a:t>
              </a:r>
              <a:endParaRPr sz="1467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8" name="Google Shape;368;p57"/>
            <p:cNvSpPr/>
            <p:nvPr/>
          </p:nvSpPr>
          <p:spPr>
            <a:xfrm>
              <a:off x="81404" y="3655557"/>
              <a:ext cx="937200" cy="937200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33" tIns="91433" rIns="91433" bIns="91433" anchor="ctr" anchorCtr="0">
              <a:noAutofit/>
            </a:bodyPr>
            <a:lstStyle/>
            <a:p>
              <a:pPr>
                <a:buClr>
                  <a:srgbClr val="000000"/>
                </a:buClr>
                <a:buSzPts val="1100"/>
              </a:pPr>
              <a:endParaRPr sz="24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69" name="Google Shape;369;p5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841027" y="2507749"/>
            <a:ext cx="3034000" cy="1905200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67" rIns="121900" bIns="60967" anchor="ctr" anchorCtr="0">
            <a:noAutofit/>
          </a:bodyPr>
          <a:lstStyle/>
          <a:p>
            <a:pPr>
              <a:buClr>
                <a:srgbClr val="000000"/>
              </a:buClr>
              <a:buSzPts val="1400"/>
            </a:pPr>
            <a:endParaRPr sz="2267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0" name="Google Shape;370;p57"/>
          <p:cNvSpPr txBox="1"/>
          <p:nvPr/>
        </p:nvSpPr>
        <p:spPr>
          <a:xfrm>
            <a:off x="9123933" y="2751334"/>
            <a:ext cx="2427600" cy="16004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67" rIns="121900" bIns="60967" anchor="t" anchorCtr="0">
            <a:spAutoFit/>
          </a:bodyPr>
          <a:lstStyle/>
          <a:p>
            <a:pPr algn="ctr">
              <a:buClr>
                <a:srgbClr val="000000"/>
              </a:buClr>
              <a:buSzPts val="1100"/>
            </a:pPr>
            <a:r>
              <a:rPr lang="en" sz="16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metimes, relatively minor and non-violent offenses can lead to </a:t>
            </a:r>
            <a:r>
              <a:rPr lang="en" sz="1600" i="1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ndatory</a:t>
            </a:r>
            <a:r>
              <a:rPr lang="en" sz="1600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deportation even for green card holders.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9810FCE-B896-0014-366D-B61B08E9C904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Google Shape;384;p59"/>
          <p:cNvSpPr txBox="1">
            <a:spLocks noGrp="1"/>
          </p:cNvSpPr>
          <p:nvPr>
            <p:ph type="title"/>
          </p:nvPr>
        </p:nvSpPr>
        <p:spPr>
          <a:xfrm>
            <a:off x="2900555" y="2305878"/>
            <a:ext cx="8181508" cy="1835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b" anchorCtr="0">
            <a:normAutofit fontScale="90000"/>
          </a:bodyPr>
          <a:lstStyle/>
          <a:p>
            <a:pPr>
              <a:buSzPct val="100000"/>
            </a:pPr>
            <a:r>
              <a:rPr lang="en"/>
              <a:t>Know Your Rights:</a:t>
            </a:r>
            <a:endParaRPr/>
          </a:p>
          <a:p>
            <a:pPr>
              <a:buSzPct val="100000"/>
            </a:pPr>
            <a:r>
              <a:rPr lang="en"/>
              <a:t>Interactions with Immigration Enforcement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E0B365E-AB40-E323-1D4B-73DCC582DD07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1284ABAE-D646-6D73-2209-AFCA4CB8CF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wrap="square" anchor="ctr">
            <a:normAutofit/>
          </a:bodyPr>
          <a:lstStyle/>
          <a:p>
            <a:r>
              <a:rPr lang="en-US" sz="3200"/>
              <a:t>Basic Background laws</a:t>
            </a:r>
            <a:endParaRPr lang="en-US" sz="3200">
              <a:cs typeface="Arial"/>
            </a:endParaRPr>
          </a:p>
        </p:txBody>
      </p:sp>
      <p:graphicFrame>
        <p:nvGraphicFramePr>
          <p:cNvPr id="22" name="Rectangle 1">
            <a:extLst>
              <a:ext uri="{FF2B5EF4-FFF2-40B4-BE49-F238E27FC236}">
                <a16:creationId xmlns:a16="http://schemas.microsoft.com/office/drawing/2014/main" id="{B6DA8B5C-CA1B-91A3-B1A7-BFE365A0B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9116484"/>
              </p:ext>
            </p:extLst>
          </p:nvPr>
        </p:nvGraphicFramePr>
        <p:xfrm>
          <a:off x="791715" y="1386929"/>
          <a:ext cx="10602418" cy="4352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5C62ED2-9ACB-F50E-E3A5-0962EA8388C8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10071981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922D5C-F666-20CC-C750-2173CC6C7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72212"/>
            <a:ext cx="10602418" cy="731520"/>
          </a:xfrm>
        </p:spPr>
        <p:txBody>
          <a:bodyPr vert="horz" wrap="square" lIns="0" tIns="0" rIns="0" bIns="0" rtlCol="0" anchor="ctr" anchorCtr="0">
            <a:normAutofit/>
          </a:bodyPr>
          <a:lstStyle/>
          <a:p>
            <a:r>
              <a:rPr lang="en-US" sz="3200" b="1" kern="1200" spc="0" baseline="0">
                <a:ln w="6350" cap="flat">
                  <a:noFill/>
                  <a:miter lim="800000"/>
                </a:ln>
                <a:latin typeface="+mj-lt"/>
                <a:ea typeface="+mj-ea"/>
                <a:cs typeface="+mj-cs"/>
              </a:rPr>
              <a:t>Basic Search &amp; Seizure Law</a:t>
            </a:r>
            <a:endParaRPr lang="en-US" sz="3200" b="1" kern="1200" spc="0" baseline="0">
              <a:ln w="6350" cap="flat">
                <a:noFill/>
                <a:miter lim="800000"/>
              </a:ln>
              <a:latin typeface="+mj-lt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667995C-1478-9E29-B9FF-87F8DE68D9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4037" y="1101337"/>
            <a:ext cx="11082528" cy="276999"/>
          </a:xfrm>
        </p:spPr>
        <p:txBody>
          <a:bodyPr vert="horz" wrap="square" lIns="0" tIns="0" rIns="0" bIns="0" rtlCol="0">
            <a:normAutofit/>
          </a:bodyPr>
          <a:lstStyle/>
          <a:p>
            <a:r>
              <a:rPr lang="en-US" b="1" i="1" kern="1200">
                <a:latin typeface="+mn-lt"/>
                <a:ea typeface="+mn-ea"/>
                <a:cs typeface="Arial" panose="020B0604020202020204" pitchFamily="34" charset="0"/>
              </a:rPr>
              <a:t>Controlled by U.S. &amp; State Constitutions	</a:t>
            </a:r>
          </a:p>
        </p:txBody>
      </p:sp>
      <p:graphicFrame>
        <p:nvGraphicFramePr>
          <p:cNvPr id="14" name="Content Placeholder 4">
            <a:extLst>
              <a:ext uri="{FF2B5EF4-FFF2-40B4-BE49-F238E27FC236}">
                <a16:creationId xmlns:a16="http://schemas.microsoft.com/office/drawing/2014/main" id="{E95C076A-2A3A-2C9C-39C3-12FCEF502F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1689240582"/>
              </p:ext>
            </p:extLst>
          </p:nvPr>
        </p:nvGraphicFramePr>
        <p:xfrm>
          <a:off x="554037" y="1665486"/>
          <a:ext cx="10871455" cy="40911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C880E261-37E3-B9CC-362D-9D16380A7F6D}"/>
              </a:ext>
            </a:extLst>
          </p:cNvPr>
          <p:cNvSpPr txBox="1"/>
          <p:nvPr/>
        </p:nvSpPr>
        <p:spPr>
          <a:xfrm>
            <a:off x="3046" y="6641693"/>
            <a:ext cx="12188169" cy="2154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1"/>
            </a:solidFill>
            <a:miter lim="800000"/>
          </a:ln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400" b="1">
                <a:cs typeface="Arial"/>
              </a:rPr>
              <a:t>This presentation is for informational purposes only. For legal advice, please contact an attorney.</a:t>
            </a:r>
          </a:p>
        </p:txBody>
      </p:sp>
    </p:spTree>
    <p:extLst>
      <p:ext uri="{BB962C8B-B14F-4D97-AF65-F5344CB8AC3E}">
        <p14:creationId xmlns:p14="http://schemas.microsoft.com/office/powerpoint/2010/main" val="8471617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Adit &amp; Katie to upda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2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F497D"/>
      </a:accent1>
      <a:accent2>
        <a:srgbClr val="4F81BD"/>
      </a:accent2>
      <a:accent3>
        <a:srgbClr val="C0504D"/>
      </a:accent3>
      <a:accent4>
        <a:srgbClr val="9BBB59"/>
      </a:accent4>
      <a:accent5>
        <a:srgbClr val="00269E"/>
      </a:accent5>
      <a:accent6>
        <a:srgbClr val="4D4D4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3.xml><?xml version="1.0" encoding="utf-8"?>
<a:theme xmlns:a="http://schemas.openxmlformats.org/drawingml/2006/main" name="1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4.xml><?xml version="1.0" encoding="utf-8"?>
<a:theme xmlns:a="http://schemas.openxmlformats.org/drawingml/2006/main" name="3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5.xml><?xml version="1.0" encoding="utf-8"?>
<a:theme xmlns:a="http://schemas.openxmlformats.org/drawingml/2006/main" name="4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6.xml><?xml version="1.0" encoding="utf-8"?>
<a:theme xmlns:a="http://schemas.openxmlformats.org/drawingml/2006/main" name="5_White">
  <a:themeElements>
    <a:clrScheme name="Official Mass.gov">
      <a:dk1>
        <a:srgbClr val="000000"/>
      </a:dk1>
      <a:lt1>
        <a:srgbClr val="FFFFFF"/>
      </a:lt1>
      <a:dk2>
        <a:srgbClr val="535353"/>
      </a:dk2>
      <a:lt2>
        <a:srgbClr val="F2F2F2"/>
      </a:lt2>
      <a:accent1>
        <a:srgbClr val="14558F"/>
      </a:accent1>
      <a:accent2>
        <a:srgbClr val="388557"/>
      </a:accent2>
      <a:accent3>
        <a:srgbClr val="F6C51B"/>
      </a:accent3>
      <a:accent4>
        <a:srgbClr val="CD0D0D"/>
      </a:accent4>
      <a:accent5>
        <a:srgbClr val="680A1D"/>
      </a:accent5>
      <a:accent6>
        <a:srgbClr val="3E92CF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  <a:headEnd type="none" w="med" len="med"/>
          <a:tailEnd type="arrow" w="med" len="med"/>
        </a:ln>
      </a:spPr>
      <a:bodyPr/>
      <a:lstStyle/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F497D"/>
        </a:accent1>
        <a:accent2>
          <a:srgbClr val="4F81BD"/>
        </a:accent2>
        <a:accent3>
          <a:srgbClr val="C0504D"/>
        </a:accent3>
        <a:accent4>
          <a:srgbClr val="9BBB59"/>
        </a:accent4>
        <a:accent5>
          <a:srgbClr val="00269E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8064A2"/>
    </a:custClr>
    <a:custClr name="Custom Color7">
      <a:srgbClr val="4BACC6"/>
    </a:custClr>
    <a:custClr name="Custom Color8">
      <a:srgbClr val="F79646"/>
    </a:custClr>
    <a:custClr name="Custom Color9">
      <a:srgbClr val="EEECE1"/>
    </a:custClr>
  </a:custClrLst>
  <a:extLst>
    <a:ext uri="{05A4C25C-085E-4340-85A3-A5531E510DB2}">
      <thm15:themeFamily xmlns:thm15="http://schemas.microsoft.com/office/thememl/2012/main" name="20210518_HAF_Kickoff_v1.potx" id="{A0B862EF-0DE6-4840-AD4F-1140F8E4C274}" vid="{364821FC-BB00-4440-A08F-FB81417C5FD0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C1864718A39147B181156AC2299AFD" ma:contentTypeVersion="16" ma:contentTypeDescription="Create a new document." ma:contentTypeScope="" ma:versionID="6494204d1c05ebd51a5bb2c8513d4b6e">
  <xsd:schema xmlns:xsd="http://www.w3.org/2001/XMLSchema" xmlns:xs="http://www.w3.org/2001/XMLSchema" xmlns:p="http://schemas.microsoft.com/office/2006/metadata/properties" xmlns:ns2="fb24ca43-2bae-443f-90ae-91266017e648" xmlns:ns3="900d5874-448c-4cb7-9bae-bdc429d5eec5" targetNamespace="http://schemas.microsoft.com/office/2006/metadata/properties" ma:root="true" ma:fieldsID="9a2040f8440acb939b15ab9feb9962c3" ns2:_="" ns3:_="">
    <xsd:import namespace="fb24ca43-2bae-443f-90ae-91266017e648"/>
    <xsd:import namespace="900d5874-448c-4cb7-9bae-bdc429d5ee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MediaServiceDateTaken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24ca43-2bae-443f-90ae-91266017e6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9f123c60-6d59-4beb-a46f-4c7d903a1f2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0d5874-448c-4cb7-9bae-bdc429d5eec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47be021a-fc01-4e66-a10b-316b730c7540}" ma:internalName="TaxCatchAll" ma:showField="CatchAllData" ma:web="900d5874-448c-4cb7-9bae-bdc429d5ee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b24ca43-2bae-443f-90ae-91266017e648">
      <Terms xmlns="http://schemas.microsoft.com/office/infopath/2007/PartnerControls"/>
    </lcf76f155ced4ddcb4097134ff3c332f>
    <TaxCatchAll xmlns="900d5874-448c-4cb7-9bae-bdc429d5eec5" xsi:nil="true"/>
    <SharedWithUsers xmlns="900d5874-448c-4cb7-9bae-bdc429d5eec5">
      <UserInfo>
        <DisplayName>Boodoo, Jesse M. (GOV)</DisplayName>
        <AccountId>237</AccountId>
        <AccountType/>
      </UserInfo>
      <UserInfo>
        <DisplayName>zzMoore, Austin (GOV)</DisplayName>
        <AccountId>184</AccountId>
        <AccountType/>
      </UserInfo>
      <UserInfo>
        <DisplayName>Hoysradt, Kristian (GOV)</DisplayName>
        <AccountId>55</AccountId>
        <AccountType/>
      </UserInfo>
      <UserInfo>
        <DisplayName>Tisinger, Katherine M. (EXT)</DisplayName>
        <AccountId>14</AccountId>
        <AccountType/>
      </UserInfo>
      <UserInfo>
        <DisplayName>Basheer, Aditya W. (A&amp;F)</DisplayName>
        <AccountId>16</AccountId>
        <AccountType/>
      </UserInfo>
      <UserInfo>
        <DisplayName>Melanson, Brian W. (A&amp;F)</DisplayName>
        <AccountId>240</AccountId>
        <AccountType/>
      </UserInfo>
      <UserInfo>
        <DisplayName>Mendoza, Nikko (EOHLC)</DisplayName>
        <AccountId>26</AccountId>
        <AccountType/>
      </UserInfo>
      <UserInfo>
        <DisplayName>Thompson, Chris (EOHLC)</DisplayName>
        <AccountId>145</AccountId>
        <AccountType/>
      </UserInfo>
      <UserInfo>
        <DisplayName>zzBaldwin, Cecilia Ugarte (GOV)</DisplayName>
        <AccountId>98</AccountId>
        <AccountType/>
      </UserInfo>
      <UserInfo>
        <DisplayName>Marqusee, Joanne (EHS)</DisplayName>
        <AccountId>43</AccountId>
        <AccountType/>
      </UserInfo>
      <UserInfo>
        <DisplayName>Terrey, Susan (EPS)</DisplayName>
        <AccountId>36</AccountId>
        <AccountType/>
      </UserInfo>
      <UserInfo>
        <DisplayName>McGeown, Mary (EHS)</DisplayName>
        <AccountId>143</AccountId>
        <AccountType/>
      </UserInfo>
      <UserInfo>
        <DisplayName>Bovell-Ammon, Allison (EHS)</DisplayName>
        <AccountId>34</AccountId>
        <AccountType/>
      </UserInfo>
      <UserInfo>
        <DisplayName>Cohen, Jesse (EOHLC)</DisplayName>
        <AccountId>25</AccountId>
        <AccountType/>
      </UserInfo>
      <UserInfo>
        <DisplayName>McElderry, Kristin</DisplayName>
        <AccountId>40</AccountId>
        <AccountType/>
      </UserInfo>
      <UserInfo>
        <DisplayName>Cuddy, Joshua (EOHLC)</DisplayName>
        <AccountId>301</AccountId>
        <AccountType/>
      </UserInfo>
      <UserInfo>
        <DisplayName>Stitely, Amy (EOHLC)</DisplayName>
        <AccountId>256</AccountId>
        <AccountType/>
      </UserInfo>
      <UserInfo>
        <DisplayName>Venguer, Nicole (A&amp;F)</DisplayName>
        <AccountId>68</AccountId>
        <AccountType/>
      </UserInfo>
      <UserInfo>
        <DisplayName>Rice, Scott (GOV)</DisplayName>
        <AccountId>278</AccountId>
        <AccountType/>
      </UserInfo>
      <UserInfo>
        <DisplayName>Mullarkey, Ita (EOHLC)</DisplayName>
        <AccountId>119</AccountId>
        <AccountType/>
      </UserInfo>
      <UserInfo>
        <DisplayName>zzRubin, Roberta (EOHLC)</DisplayName>
        <AccountId>24</AccountId>
        <AccountType/>
      </UserInfo>
      <UserInfo>
        <DisplayName>Hitt, Ellie (GOV)</DisplayName>
        <AccountId>263</AccountId>
        <AccountType/>
      </UserInfo>
      <UserInfo>
        <DisplayName>Kreiss, Andrew (GOV)</DisplayName>
        <AccountId>185</AccountId>
        <AccountType/>
      </UserInfo>
      <UserInfo>
        <DisplayName>Bartosch, William (EOHLC)</DisplayName>
        <AccountId>102</AccountId>
        <AccountType/>
      </UserInfo>
      <UserInfo>
        <DisplayName>Maddox, Jennifer (EOHLC)</DisplayName>
        <AccountId>27</AccountId>
        <AccountType/>
      </UserInfo>
      <UserInfo>
        <DisplayName>Griffin, Virginia K (EOHLC)</DisplayName>
        <AccountId>58</AccountId>
        <AccountType/>
      </UserInfo>
      <UserInfo>
        <DisplayName>Chua, Alexandra (GOV)</DisplayName>
        <AccountId>491</AccountId>
        <AccountType/>
      </UserInfo>
      <UserInfo>
        <DisplayName>Castillo, Marcela (GOV)</DisplayName>
        <AccountId>492</AccountId>
        <AccountType/>
      </UserInfo>
      <UserInfo>
        <DisplayName>McGee, Katherine A. (GOV)</DisplayName>
        <AccountId>339</AccountId>
        <AccountType/>
      </UserInfo>
      <UserInfo>
        <DisplayName>Arnold, Alyssa B. (A&amp;F)</DisplayName>
        <AccountId>510</AccountId>
        <AccountType/>
      </UserInfo>
      <UserInfo>
        <DisplayName>Higgins, Colin (EOHLC)</DisplayName>
        <AccountId>747</AccountId>
        <AccountType/>
      </UserInfo>
      <UserInfo>
        <DisplayName>Bresnahan, Karen (EOHLC)</DisplayName>
        <AccountId>117</AccountId>
        <AccountType/>
      </UserInfo>
      <UserInfo>
        <DisplayName>Sharp, Catia Ruth (A&amp;F)</DisplayName>
        <AccountId>348</AccountId>
        <AccountType/>
      </UserInfo>
      <UserInfo>
        <DisplayName>Tisinger, Katie (A&amp;F)</DisplayName>
        <AccountId>287</AccountId>
        <AccountType/>
      </UserInfo>
      <UserInfo>
        <DisplayName>Flaherty, TJ (GOV)</DisplayName>
        <AccountId>886</AccountId>
        <AccountType/>
      </UserInfo>
      <UserInfo>
        <DisplayName>Marcus, Claire X. (OCD)</DisplayName>
        <AccountId>947</AccountId>
        <AccountType/>
      </UserInfo>
      <UserInfo>
        <DisplayName>Hogan, Alyssa (GOV)</DisplayName>
        <AccountId>1213</AccountId>
        <AccountType/>
      </UserInfo>
      <UserInfo>
        <DisplayName>Ordway, Alysia M (EOL)</DisplayName>
        <AccountId>847</AccountId>
        <AccountType/>
      </UserInfo>
      <UserInfo>
        <DisplayName>Jhunjunwala, Saty (A&amp;F)</DisplayName>
        <AccountId>93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6BE67F4D-5018-478C-AD10-D765D8B38076}">
  <ds:schemaRefs>
    <ds:schemaRef ds:uri="900d5874-448c-4cb7-9bae-bdc429d5eec5"/>
    <ds:schemaRef ds:uri="fb24ca43-2bae-443f-90ae-91266017e64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9879CA0-DAEF-4A32-952C-8A46A48293F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E111BB3-6091-45DD-8E22-425CEAE2FC56}">
  <ds:schemaRefs>
    <ds:schemaRef ds:uri="http://purl.org/dc/elements/1.1/"/>
    <ds:schemaRef ds:uri="http://schemas.microsoft.com/office/2006/documentManagement/types"/>
    <ds:schemaRef ds:uri="http://purl.org/dc/terms/"/>
    <ds:schemaRef ds:uri="900d5874-448c-4cb7-9bae-bdc429d5eec5"/>
    <ds:schemaRef ds:uri="http://purl.org/dc/dcmitype/"/>
    <ds:schemaRef ds:uri="fb24ca43-2bae-443f-90ae-91266017e648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3e861d16-48b7-4a0e-9806-8c04d81b7b2a}" enabled="0" method="" siteId="{3e861d16-48b7-4a0e-9806-8c04d81b7b2a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</TotalTime>
  <Words>1936</Words>
  <Application>Microsoft Office PowerPoint</Application>
  <PresentationFormat>Widescreen</PresentationFormat>
  <Paragraphs>162</Paragraphs>
  <Slides>2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</vt:lpstr>
      <vt:lpstr>Calibri</vt:lpstr>
      <vt:lpstr>Georgia</vt:lpstr>
      <vt:lpstr>Gill Sans MT</vt:lpstr>
      <vt:lpstr>Roboto</vt:lpstr>
      <vt:lpstr>Segoe UI</vt:lpstr>
      <vt:lpstr>Wingdings</vt:lpstr>
      <vt:lpstr>White</vt:lpstr>
      <vt:lpstr>2_White</vt:lpstr>
      <vt:lpstr>1_White</vt:lpstr>
      <vt:lpstr>3_White</vt:lpstr>
      <vt:lpstr>4_White</vt:lpstr>
      <vt:lpstr>5_White</vt:lpstr>
      <vt:lpstr>think-cell Slide</vt:lpstr>
      <vt:lpstr>ORI &amp; AG Presentation for  K-12 Public Schools</vt:lpstr>
      <vt:lpstr>Today's Presenters</vt:lpstr>
      <vt:lpstr>Overview of Department of Homeland Security</vt:lpstr>
      <vt:lpstr>How People May Come into Contact with Immigration Enforcement</vt:lpstr>
      <vt:lpstr>Who is at Risk of Removal/Denial of Admission?</vt:lpstr>
      <vt:lpstr>Reasons for Deportation</vt:lpstr>
      <vt:lpstr>Know Your Rights: Interactions with Immigration Enforcement</vt:lpstr>
      <vt:lpstr>Basic Background laws</vt:lpstr>
      <vt:lpstr>Basic Search &amp; Seizure Law</vt:lpstr>
      <vt:lpstr>Withdrawal of Sensitive Locations Memo</vt:lpstr>
      <vt:lpstr>Policies for Responding to Immigration Enforcement</vt:lpstr>
      <vt:lpstr>Guidance Regarding Public Schools’ Obligations to Protect Students and Their Information</vt:lpstr>
      <vt:lpstr>Rights of All Students to Education Regardless of  Immigration or Citizenship Status</vt:lpstr>
      <vt:lpstr>Family Educational Rights and Privacy Act of 1974 (FERPA) and the Massachusetts Student Records Regulations</vt:lpstr>
      <vt:lpstr>Exceptions to the General Rule</vt:lpstr>
      <vt:lpstr>Exceptions to the General Rule   </vt:lpstr>
      <vt:lpstr>Guidance on ICE Requests to Meet or Interview Students or Obtain Students’ Information</vt:lpstr>
      <vt:lpstr>Share Plan Ahead Resources with Parents/Guardians</vt:lpstr>
      <vt:lpstr>Know Your Rights Presentations</vt:lpstr>
      <vt:lpstr>Immigration Legal Resour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I &amp; AG Presentation for K-12 Public Schools: Know Your Students' Rights</dc:title>
  <dc:creator>DESE</dc:creator>
  <cp:lastModifiedBy>Zou, Dong (EOE)</cp:lastModifiedBy>
  <cp:revision>6</cp:revision>
  <cp:lastPrinted>2024-07-25T15:13:39Z</cp:lastPrinted>
  <dcterms:created xsi:type="dcterms:W3CDTF">2021-09-26T22:27:24Z</dcterms:created>
  <dcterms:modified xsi:type="dcterms:W3CDTF">2025-01-31T21:10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tadate">
    <vt:lpwstr>Jan 31 2025 12:00AM</vt:lpwstr>
  </property>
</Properties>
</file>